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1" r:id="rId3"/>
    <p:sldId id="259" r:id="rId4"/>
    <p:sldId id="260" r:id="rId5"/>
  </p:sldIdLst>
  <p:sldSz cx="12192000" cy="6858000"/>
  <p:notesSz cx="6858000" cy="9144000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AD47"/>
    <a:srgbClr val="000000"/>
    <a:srgbClr val="843C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52" d="100"/>
          <a:sy n="52" d="100"/>
        </p:scale>
        <p:origin x="48" y="76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24.07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68452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24.07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06133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24.07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24737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24.07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91821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24.07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0424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24.07.2023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15237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24.07.2023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27330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24.07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848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24.07.2023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47664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24.07.2023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68874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46EB1-D526-4614-8411-98BE29F1FE62}" type="datetimeFigureOut">
              <a:rPr lang="de-DE" smtClean="0"/>
              <a:t>24.07.2023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21777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046EB1-D526-4614-8411-98BE29F1FE62}" type="datetimeFigureOut">
              <a:rPr lang="de-DE" smtClean="0"/>
              <a:t>24.07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14521C-D138-45BC-94C8-4452E49F0E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3219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chtungspfeil 3"/>
          <p:cNvSpPr/>
          <p:nvPr/>
        </p:nvSpPr>
        <p:spPr>
          <a:xfrm>
            <a:off x="1402374" y="1597270"/>
            <a:ext cx="1802422" cy="3042138"/>
          </a:xfrm>
          <a:prstGeom prst="homePlat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ichtungspfeil 4"/>
          <p:cNvSpPr/>
          <p:nvPr/>
        </p:nvSpPr>
        <p:spPr>
          <a:xfrm>
            <a:off x="3204796" y="1597270"/>
            <a:ext cx="1802422" cy="2576146"/>
          </a:xfrm>
          <a:prstGeom prst="homePlat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EP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ichtungspfeil 5"/>
          <p:cNvSpPr/>
          <p:nvPr/>
        </p:nvSpPr>
        <p:spPr>
          <a:xfrm>
            <a:off x="5007218" y="1597270"/>
            <a:ext cx="1802422" cy="2162908"/>
          </a:xfrm>
          <a:prstGeom prst="homePlat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EP</a:t>
            </a:r>
          </a:p>
        </p:txBody>
      </p:sp>
      <p:sp>
        <p:nvSpPr>
          <p:cNvPr id="7" name="Richtungspfeil 6"/>
          <p:cNvSpPr/>
          <p:nvPr/>
        </p:nvSpPr>
        <p:spPr>
          <a:xfrm>
            <a:off x="6809640" y="1597270"/>
            <a:ext cx="1802422" cy="1934308"/>
          </a:xfrm>
          <a:prstGeom prst="homePlat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EC</a:t>
            </a:r>
          </a:p>
        </p:txBody>
      </p:sp>
      <p:sp>
        <p:nvSpPr>
          <p:cNvPr id="8" name="Richtungspfeil 7"/>
          <p:cNvSpPr/>
          <p:nvPr/>
        </p:nvSpPr>
        <p:spPr>
          <a:xfrm>
            <a:off x="8612062" y="1597270"/>
            <a:ext cx="1802422" cy="1670538"/>
          </a:xfrm>
          <a:prstGeom prst="homePlat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</a:p>
        </p:txBody>
      </p:sp>
      <p:sp>
        <p:nvSpPr>
          <p:cNvPr id="10" name="Gebogener Pfeil 9"/>
          <p:cNvSpPr/>
          <p:nvPr/>
        </p:nvSpPr>
        <p:spPr>
          <a:xfrm rot="5400000">
            <a:off x="2030291" y="4179378"/>
            <a:ext cx="2329960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Gebogener Pfeil 10"/>
          <p:cNvSpPr/>
          <p:nvPr/>
        </p:nvSpPr>
        <p:spPr>
          <a:xfrm rot="5400000">
            <a:off x="3842238" y="3779960"/>
            <a:ext cx="2329960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Gebogener Pfeil 11"/>
          <p:cNvSpPr/>
          <p:nvPr/>
        </p:nvSpPr>
        <p:spPr>
          <a:xfrm rot="5400000">
            <a:off x="5644660" y="3532618"/>
            <a:ext cx="2329960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Gebogener Pfeil 12"/>
          <p:cNvSpPr/>
          <p:nvPr/>
        </p:nvSpPr>
        <p:spPr>
          <a:xfrm rot="5400000" flipH="1">
            <a:off x="5640263" y="-394340"/>
            <a:ext cx="2338754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Gebogener Pfeil 14"/>
          <p:cNvSpPr/>
          <p:nvPr/>
        </p:nvSpPr>
        <p:spPr>
          <a:xfrm rot="16200000">
            <a:off x="7374544" y="3034455"/>
            <a:ext cx="2329960" cy="2004646"/>
          </a:xfrm>
          <a:prstGeom prst="circularArrow">
            <a:avLst>
              <a:gd name="adj1" fmla="val 11646"/>
              <a:gd name="adj2" fmla="val 1381430"/>
              <a:gd name="adj3" fmla="val 20558765"/>
              <a:gd name="adj4" fmla="val 17416965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Gebogener Pfeil 15"/>
          <p:cNvSpPr/>
          <p:nvPr/>
        </p:nvSpPr>
        <p:spPr>
          <a:xfrm rot="16200000" flipH="1">
            <a:off x="7474190" y="-60668"/>
            <a:ext cx="2130670" cy="2004646"/>
          </a:xfrm>
          <a:prstGeom prst="circularArrow">
            <a:avLst>
              <a:gd name="adj1" fmla="val 11646"/>
              <a:gd name="adj2" fmla="val 1381430"/>
              <a:gd name="adj3" fmla="val 20558765"/>
              <a:gd name="adj4" fmla="val 17416965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Gebogener Pfeil 16"/>
          <p:cNvSpPr/>
          <p:nvPr/>
        </p:nvSpPr>
        <p:spPr>
          <a:xfrm rot="5400000">
            <a:off x="7460267" y="3302976"/>
            <a:ext cx="2329960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3189406" y="4915897"/>
            <a:ext cx="1309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nversion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losses (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enerator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4956662" y="4524212"/>
            <a:ext cx="13950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uxiliary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consumption</a:t>
            </a:r>
            <a:b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enerator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6770805" y="501873"/>
            <a:ext cx="10411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xports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7710389" y="819440"/>
            <a:ext cx="10411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mports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6826224" y="4265965"/>
            <a:ext cx="104115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torage charging (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umped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ydro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7639219" y="3807806"/>
            <a:ext cx="125474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torage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ischarging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umped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ydro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893960" y="4045483"/>
            <a:ext cx="15481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ransformation &amp;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istribution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losses</a:t>
            </a:r>
          </a:p>
        </p:txBody>
      </p:sp>
      <p:cxnSp>
        <p:nvCxnSpPr>
          <p:cNvPr id="35" name="Gerader Verbinder 34"/>
          <p:cNvCxnSpPr/>
          <p:nvPr/>
        </p:nvCxnSpPr>
        <p:spPr>
          <a:xfrm>
            <a:off x="6807719" y="325316"/>
            <a:ext cx="641" cy="617806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/>
          <p:nvPr/>
        </p:nvCxnSpPr>
        <p:spPr>
          <a:xfrm>
            <a:off x="6988048" y="6018335"/>
            <a:ext cx="74954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/>
          <p:nvPr/>
        </p:nvCxnSpPr>
        <p:spPr>
          <a:xfrm flipH="1">
            <a:off x="4335158" y="6018335"/>
            <a:ext cx="229479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/>
          <p:cNvSpPr txBox="1"/>
          <p:nvPr/>
        </p:nvSpPr>
        <p:spPr>
          <a:xfrm>
            <a:off x="6988048" y="6065552"/>
            <a:ext cx="10411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id</a:t>
            </a:r>
            <a:endParaRPr lang="de-DE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4428120" y="6061441"/>
            <a:ext cx="22018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dividual </a:t>
            </a:r>
            <a:r>
              <a:rPr lang="de-DE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enerator</a:t>
            </a:r>
            <a:endParaRPr lang="de-DE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9054874" y="5842337"/>
            <a:ext cx="313712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E: 	Primary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nergy</a:t>
            </a:r>
            <a:endParaRPr lang="de-DE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GEP:	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oss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electricity production</a:t>
            </a: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NEP:	Net electricity production</a:t>
            </a: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GEC:	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oss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electricity consumption</a:t>
            </a: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NEC:	Net electricity consumption 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1243">
            <a:extLst>
              <a:ext uri="{FF2B5EF4-FFF2-40B4-BE49-F238E27FC236}">
                <a16:creationId xmlns:a16="http://schemas.microsoft.com/office/drawing/2014/main" id="{1BE85B51-8F3C-42E5-99C9-235F62BD1997}"/>
              </a:ext>
            </a:extLst>
          </p:cNvPr>
          <p:cNvSpPr>
            <a:spLocks noChangeAspect="1"/>
          </p:cNvSpPr>
          <p:nvPr/>
        </p:nvSpPr>
        <p:spPr bwMode="auto">
          <a:xfrm>
            <a:off x="10623437" y="2165798"/>
            <a:ext cx="539215" cy="533481"/>
          </a:xfrm>
          <a:custGeom>
            <a:avLst/>
            <a:gdLst>
              <a:gd name="T0" fmla="*/ 574 w 590"/>
              <a:gd name="T1" fmla="*/ 211 h 590"/>
              <a:gd name="T2" fmla="*/ 442 w 590"/>
              <a:gd name="T3" fmla="*/ 342 h 590"/>
              <a:gd name="T4" fmla="*/ 492 w 590"/>
              <a:gd name="T5" fmla="*/ 391 h 590"/>
              <a:gd name="T6" fmla="*/ 439 w 590"/>
              <a:gd name="T7" fmla="*/ 443 h 590"/>
              <a:gd name="T8" fmla="*/ 177 w 590"/>
              <a:gd name="T9" fmla="*/ 471 h 590"/>
              <a:gd name="T10" fmla="*/ 59 w 590"/>
              <a:gd name="T11" fmla="*/ 590 h 590"/>
              <a:gd name="T12" fmla="*/ 0 w 590"/>
              <a:gd name="T13" fmla="*/ 590 h 590"/>
              <a:gd name="T14" fmla="*/ 0 w 590"/>
              <a:gd name="T15" fmla="*/ 530 h 590"/>
              <a:gd name="T16" fmla="*/ 118 w 590"/>
              <a:gd name="T17" fmla="*/ 412 h 590"/>
              <a:gd name="T18" fmla="*/ 146 w 590"/>
              <a:gd name="T19" fmla="*/ 150 h 590"/>
              <a:gd name="T20" fmla="*/ 199 w 590"/>
              <a:gd name="T21" fmla="*/ 98 h 590"/>
              <a:gd name="T22" fmla="*/ 248 w 590"/>
              <a:gd name="T23" fmla="*/ 147 h 590"/>
              <a:gd name="T24" fmla="*/ 378 w 590"/>
              <a:gd name="T25" fmla="*/ 16 h 590"/>
              <a:gd name="T26" fmla="*/ 438 w 590"/>
              <a:gd name="T27" fmla="*/ 16 h 590"/>
              <a:gd name="T28" fmla="*/ 438 w 590"/>
              <a:gd name="T29" fmla="*/ 75 h 590"/>
              <a:gd name="T30" fmla="*/ 307 w 590"/>
              <a:gd name="T31" fmla="*/ 206 h 590"/>
              <a:gd name="T32" fmla="*/ 383 w 590"/>
              <a:gd name="T33" fmla="*/ 283 h 590"/>
              <a:gd name="T34" fmla="*/ 514 w 590"/>
              <a:gd name="T35" fmla="*/ 152 h 590"/>
              <a:gd name="T36" fmla="*/ 574 w 590"/>
              <a:gd name="T37" fmla="*/ 152 h 590"/>
              <a:gd name="T38" fmla="*/ 574 w 590"/>
              <a:gd name="T39" fmla="*/ 211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90" h="590">
                <a:moveTo>
                  <a:pt x="574" y="211"/>
                </a:moveTo>
                <a:cubicBezTo>
                  <a:pt x="442" y="342"/>
                  <a:pt x="442" y="342"/>
                  <a:pt x="442" y="342"/>
                </a:cubicBezTo>
                <a:cubicBezTo>
                  <a:pt x="492" y="391"/>
                  <a:pt x="492" y="391"/>
                  <a:pt x="492" y="391"/>
                </a:cubicBezTo>
                <a:cubicBezTo>
                  <a:pt x="439" y="443"/>
                  <a:pt x="439" y="443"/>
                  <a:pt x="439" y="443"/>
                </a:cubicBezTo>
                <a:cubicBezTo>
                  <a:pt x="368" y="515"/>
                  <a:pt x="259" y="525"/>
                  <a:pt x="177" y="471"/>
                </a:cubicBezTo>
                <a:cubicBezTo>
                  <a:pt x="59" y="590"/>
                  <a:pt x="59" y="590"/>
                  <a:pt x="59" y="590"/>
                </a:cubicBezTo>
                <a:cubicBezTo>
                  <a:pt x="0" y="590"/>
                  <a:pt x="0" y="590"/>
                  <a:pt x="0" y="590"/>
                </a:cubicBezTo>
                <a:cubicBezTo>
                  <a:pt x="0" y="530"/>
                  <a:pt x="0" y="530"/>
                  <a:pt x="0" y="530"/>
                </a:cubicBezTo>
                <a:cubicBezTo>
                  <a:pt x="118" y="412"/>
                  <a:pt x="118" y="412"/>
                  <a:pt x="118" y="412"/>
                </a:cubicBezTo>
                <a:cubicBezTo>
                  <a:pt x="65" y="331"/>
                  <a:pt x="75" y="222"/>
                  <a:pt x="146" y="150"/>
                </a:cubicBezTo>
                <a:cubicBezTo>
                  <a:pt x="199" y="98"/>
                  <a:pt x="199" y="98"/>
                  <a:pt x="199" y="98"/>
                </a:cubicBezTo>
                <a:cubicBezTo>
                  <a:pt x="248" y="147"/>
                  <a:pt x="248" y="147"/>
                  <a:pt x="248" y="147"/>
                </a:cubicBezTo>
                <a:cubicBezTo>
                  <a:pt x="378" y="16"/>
                  <a:pt x="378" y="16"/>
                  <a:pt x="378" y="16"/>
                </a:cubicBezTo>
                <a:cubicBezTo>
                  <a:pt x="395" y="0"/>
                  <a:pt x="421" y="0"/>
                  <a:pt x="438" y="16"/>
                </a:cubicBezTo>
                <a:cubicBezTo>
                  <a:pt x="454" y="32"/>
                  <a:pt x="454" y="59"/>
                  <a:pt x="438" y="75"/>
                </a:cubicBezTo>
                <a:cubicBezTo>
                  <a:pt x="307" y="206"/>
                  <a:pt x="307" y="206"/>
                  <a:pt x="307" y="206"/>
                </a:cubicBezTo>
                <a:cubicBezTo>
                  <a:pt x="383" y="283"/>
                  <a:pt x="383" y="283"/>
                  <a:pt x="383" y="283"/>
                </a:cubicBezTo>
                <a:cubicBezTo>
                  <a:pt x="514" y="152"/>
                  <a:pt x="514" y="152"/>
                  <a:pt x="514" y="152"/>
                </a:cubicBezTo>
                <a:cubicBezTo>
                  <a:pt x="531" y="136"/>
                  <a:pt x="557" y="136"/>
                  <a:pt x="574" y="152"/>
                </a:cubicBezTo>
                <a:cubicBezTo>
                  <a:pt x="590" y="168"/>
                  <a:pt x="590" y="195"/>
                  <a:pt x="574" y="2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369907" y="2677647"/>
            <a:ext cx="881384" cy="881384"/>
            <a:chOff x="369907" y="2386424"/>
            <a:chExt cx="881384" cy="881384"/>
          </a:xfrm>
        </p:grpSpPr>
        <p:sp>
          <p:nvSpPr>
            <p:cNvPr id="29" name="Freeform 1375">
              <a:extLst>
                <a:ext uri="{FF2B5EF4-FFF2-40B4-BE49-F238E27FC236}">
                  <a16:creationId xmlns:a16="http://schemas.microsoft.com/office/drawing/2014/main" id="{FA07138B-1F0B-46EB-A72F-4E917BCEC3D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9907" y="2386424"/>
              <a:ext cx="881384" cy="881384"/>
            </a:xfrm>
            <a:custGeom>
              <a:avLst/>
              <a:gdLst>
                <a:gd name="T0" fmla="*/ 168 w 586"/>
                <a:gd name="T1" fmla="*/ 20 h 585"/>
                <a:gd name="T2" fmla="*/ 168 w 586"/>
                <a:gd name="T3" fmla="*/ 312 h 585"/>
                <a:gd name="T4" fmla="*/ 343 w 586"/>
                <a:gd name="T5" fmla="*/ 171 h 585"/>
                <a:gd name="T6" fmla="*/ 356 w 586"/>
                <a:gd name="T7" fmla="*/ 167 h 585"/>
                <a:gd name="T8" fmla="*/ 377 w 586"/>
                <a:gd name="T9" fmla="*/ 188 h 585"/>
                <a:gd name="T10" fmla="*/ 377 w 586"/>
                <a:gd name="T11" fmla="*/ 312 h 585"/>
                <a:gd name="T12" fmla="*/ 552 w 586"/>
                <a:gd name="T13" fmla="*/ 171 h 585"/>
                <a:gd name="T14" fmla="*/ 565 w 586"/>
                <a:gd name="T15" fmla="*/ 167 h 585"/>
                <a:gd name="T16" fmla="*/ 586 w 586"/>
                <a:gd name="T17" fmla="*/ 188 h 585"/>
                <a:gd name="T18" fmla="*/ 586 w 586"/>
                <a:gd name="T19" fmla="*/ 564 h 585"/>
                <a:gd name="T20" fmla="*/ 565 w 586"/>
                <a:gd name="T21" fmla="*/ 585 h 585"/>
                <a:gd name="T22" fmla="*/ 21 w 586"/>
                <a:gd name="T23" fmla="*/ 585 h 585"/>
                <a:gd name="T24" fmla="*/ 0 w 586"/>
                <a:gd name="T25" fmla="*/ 564 h 585"/>
                <a:gd name="T26" fmla="*/ 0 w 586"/>
                <a:gd name="T27" fmla="*/ 20 h 585"/>
                <a:gd name="T28" fmla="*/ 21 w 586"/>
                <a:gd name="T29" fmla="*/ 0 h 585"/>
                <a:gd name="T30" fmla="*/ 147 w 586"/>
                <a:gd name="T31" fmla="*/ 0 h 585"/>
                <a:gd name="T32" fmla="*/ 168 w 586"/>
                <a:gd name="T33" fmla="*/ 2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6" h="585">
                  <a:moveTo>
                    <a:pt x="168" y="20"/>
                  </a:moveTo>
                  <a:cubicBezTo>
                    <a:pt x="168" y="312"/>
                    <a:pt x="168" y="312"/>
                    <a:pt x="168" y="312"/>
                  </a:cubicBezTo>
                  <a:cubicBezTo>
                    <a:pt x="343" y="171"/>
                    <a:pt x="343" y="171"/>
                    <a:pt x="343" y="171"/>
                  </a:cubicBezTo>
                  <a:cubicBezTo>
                    <a:pt x="346" y="168"/>
                    <a:pt x="351" y="167"/>
                    <a:pt x="356" y="167"/>
                  </a:cubicBezTo>
                  <a:cubicBezTo>
                    <a:pt x="367" y="167"/>
                    <a:pt x="377" y="176"/>
                    <a:pt x="377" y="188"/>
                  </a:cubicBezTo>
                  <a:cubicBezTo>
                    <a:pt x="377" y="312"/>
                    <a:pt x="377" y="312"/>
                    <a:pt x="377" y="312"/>
                  </a:cubicBezTo>
                  <a:cubicBezTo>
                    <a:pt x="552" y="171"/>
                    <a:pt x="552" y="171"/>
                    <a:pt x="552" y="171"/>
                  </a:cubicBezTo>
                  <a:cubicBezTo>
                    <a:pt x="555" y="168"/>
                    <a:pt x="560" y="167"/>
                    <a:pt x="565" y="167"/>
                  </a:cubicBezTo>
                  <a:cubicBezTo>
                    <a:pt x="576" y="167"/>
                    <a:pt x="586" y="176"/>
                    <a:pt x="586" y="188"/>
                  </a:cubicBezTo>
                  <a:cubicBezTo>
                    <a:pt x="586" y="564"/>
                    <a:pt x="586" y="564"/>
                    <a:pt x="586" y="564"/>
                  </a:cubicBezTo>
                  <a:cubicBezTo>
                    <a:pt x="586" y="576"/>
                    <a:pt x="576" y="585"/>
                    <a:pt x="565" y="585"/>
                  </a:cubicBezTo>
                  <a:cubicBezTo>
                    <a:pt x="21" y="585"/>
                    <a:pt x="21" y="585"/>
                    <a:pt x="21" y="585"/>
                  </a:cubicBezTo>
                  <a:cubicBezTo>
                    <a:pt x="10" y="585"/>
                    <a:pt x="0" y="576"/>
                    <a:pt x="0" y="56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8" y="0"/>
                    <a:pt x="168" y="9"/>
                    <a:pt x="168" y="2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" name="Freeform 1005">
              <a:extLst>
                <a:ext uri="{FF2B5EF4-FFF2-40B4-BE49-F238E27FC236}">
                  <a16:creationId xmlns:a16="http://schemas.microsoft.com/office/drawing/2014/main" id="{8B18C199-318B-4299-B228-DC856040251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12760" y="2759370"/>
              <a:ext cx="195679" cy="365835"/>
            </a:xfrm>
            <a:custGeom>
              <a:avLst/>
              <a:gdLst>
                <a:gd name="T0" fmla="*/ 292 w 294"/>
                <a:gd name="T1" fmla="*/ 157 h 544"/>
                <a:gd name="T2" fmla="*/ 116 w 294"/>
                <a:gd name="T3" fmla="*/ 535 h 544"/>
                <a:gd name="T4" fmla="*/ 102 w 294"/>
                <a:gd name="T5" fmla="*/ 544 h 544"/>
                <a:gd name="T6" fmla="*/ 97 w 294"/>
                <a:gd name="T7" fmla="*/ 543 h 544"/>
                <a:gd name="T8" fmla="*/ 88 w 294"/>
                <a:gd name="T9" fmla="*/ 527 h 544"/>
                <a:gd name="T10" fmla="*/ 152 w 294"/>
                <a:gd name="T11" fmla="*/ 263 h 544"/>
                <a:gd name="T12" fmla="*/ 19 w 294"/>
                <a:gd name="T13" fmla="*/ 296 h 544"/>
                <a:gd name="T14" fmla="*/ 15 w 294"/>
                <a:gd name="T15" fmla="*/ 296 h 544"/>
                <a:gd name="T16" fmla="*/ 5 w 294"/>
                <a:gd name="T17" fmla="*/ 293 h 544"/>
                <a:gd name="T18" fmla="*/ 1 w 294"/>
                <a:gd name="T19" fmla="*/ 280 h 544"/>
                <a:gd name="T20" fmla="*/ 67 w 294"/>
                <a:gd name="T21" fmla="*/ 10 h 544"/>
                <a:gd name="T22" fmla="*/ 81 w 294"/>
                <a:gd name="T23" fmla="*/ 0 h 544"/>
                <a:gd name="T24" fmla="*/ 188 w 294"/>
                <a:gd name="T25" fmla="*/ 0 h 544"/>
                <a:gd name="T26" fmla="*/ 203 w 294"/>
                <a:gd name="T27" fmla="*/ 14 h 544"/>
                <a:gd name="T28" fmla="*/ 201 w 294"/>
                <a:gd name="T29" fmla="*/ 19 h 544"/>
                <a:gd name="T30" fmla="*/ 145 w 294"/>
                <a:gd name="T31" fmla="*/ 171 h 544"/>
                <a:gd name="T32" fmla="*/ 275 w 294"/>
                <a:gd name="T33" fmla="*/ 139 h 544"/>
                <a:gd name="T34" fmla="*/ 279 w 294"/>
                <a:gd name="T35" fmla="*/ 138 h 544"/>
                <a:gd name="T36" fmla="*/ 290 w 294"/>
                <a:gd name="T37" fmla="*/ 143 h 544"/>
                <a:gd name="T38" fmla="*/ 292 w 294"/>
                <a:gd name="T39" fmla="*/ 157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544">
                  <a:moveTo>
                    <a:pt x="292" y="157"/>
                  </a:moveTo>
                  <a:cubicBezTo>
                    <a:pt x="116" y="535"/>
                    <a:pt x="116" y="535"/>
                    <a:pt x="116" y="535"/>
                  </a:cubicBezTo>
                  <a:cubicBezTo>
                    <a:pt x="113" y="540"/>
                    <a:pt x="108" y="544"/>
                    <a:pt x="102" y="544"/>
                  </a:cubicBezTo>
                  <a:cubicBezTo>
                    <a:pt x="101" y="544"/>
                    <a:pt x="99" y="543"/>
                    <a:pt x="97" y="543"/>
                  </a:cubicBezTo>
                  <a:cubicBezTo>
                    <a:pt x="90" y="541"/>
                    <a:pt x="86" y="534"/>
                    <a:pt x="88" y="527"/>
                  </a:cubicBezTo>
                  <a:cubicBezTo>
                    <a:pt x="152" y="263"/>
                    <a:pt x="152" y="263"/>
                    <a:pt x="152" y="263"/>
                  </a:cubicBezTo>
                  <a:cubicBezTo>
                    <a:pt x="19" y="296"/>
                    <a:pt x="19" y="296"/>
                    <a:pt x="19" y="296"/>
                  </a:cubicBezTo>
                  <a:cubicBezTo>
                    <a:pt x="18" y="296"/>
                    <a:pt x="17" y="296"/>
                    <a:pt x="15" y="296"/>
                  </a:cubicBezTo>
                  <a:cubicBezTo>
                    <a:pt x="12" y="296"/>
                    <a:pt x="8" y="295"/>
                    <a:pt x="5" y="293"/>
                  </a:cubicBezTo>
                  <a:cubicBezTo>
                    <a:pt x="1" y="289"/>
                    <a:pt x="0" y="284"/>
                    <a:pt x="1" y="28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4"/>
                    <a:pt x="74" y="0"/>
                    <a:pt x="81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96" y="0"/>
                    <a:pt x="203" y="6"/>
                    <a:pt x="203" y="14"/>
                  </a:cubicBezTo>
                  <a:cubicBezTo>
                    <a:pt x="203" y="15"/>
                    <a:pt x="202" y="17"/>
                    <a:pt x="201" y="19"/>
                  </a:cubicBezTo>
                  <a:cubicBezTo>
                    <a:pt x="145" y="171"/>
                    <a:pt x="145" y="171"/>
                    <a:pt x="145" y="171"/>
                  </a:cubicBezTo>
                  <a:cubicBezTo>
                    <a:pt x="275" y="139"/>
                    <a:pt x="275" y="139"/>
                    <a:pt x="275" y="139"/>
                  </a:cubicBezTo>
                  <a:cubicBezTo>
                    <a:pt x="276" y="138"/>
                    <a:pt x="277" y="138"/>
                    <a:pt x="279" y="138"/>
                  </a:cubicBezTo>
                  <a:cubicBezTo>
                    <a:pt x="283" y="138"/>
                    <a:pt x="287" y="140"/>
                    <a:pt x="290" y="143"/>
                  </a:cubicBezTo>
                  <a:cubicBezTo>
                    <a:pt x="293" y="147"/>
                    <a:pt x="294" y="152"/>
                    <a:pt x="292" y="1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249237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10" grpId="0" animBg="1"/>
      <p:bldP spid="11" grpId="0" animBg="1"/>
      <p:bldP spid="12" grpId="0" animBg="1"/>
      <p:bldP spid="13" grpId="0" animBg="1"/>
      <p:bldP spid="15" grpId="0" animBg="1"/>
      <p:bldP spid="16" grpId="0" animBg="1"/>
      <p:bldP spid="17" grpId="0" animBg="1"/>
      <p:bldP spid="18" grpId="0"/>
      <p:bldP spid="19" grpId="0"/>
      <p:bldP spid="20" grpId="0"/>
      <p:bldP spid="21" grpId="0"/>
      <p:bldP spid="22" grpId="0"/>
      <p:bldP spid="23" grpId="0"/>
      <p:bldP spid="24" grpId="0"/>
      <p:bldP spid="41" grpId="0"/>
      <p:bldP spid="42" grpId="0"/>
      <p:bldP spid="2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chtungspfeil 3"/>
          <p:cNvSpPr/>
          <p:nvPr/>
        </p:nvSpPr>
        <p:spPr>
          <a:xfrm>
            <a:off x="1631736" y="1673470"/>
            <a:ext cx="1802422" cy="3042138"/>
          </a:xfrm>
          <a:prstGeom prst="homePlat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ichtungspfeil 4"/>
          <p:cNvSpPr/>
          <p:nvPr/>
        </p:nvSpPr>
        <p:spPr>
          <a:xfrm>
            <a:off x="3434158" y="1673470"/>
            <a:ext cx="1802422" cy="2576146"/>
          </a:xfrm>
          <a:prstGeom prst="homePlat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EP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ichtungspfeil 5"/>
          <p:cNvSpPr/>
          <p:nvPr/>
        </p:nvSpPr>
        <p:spPr>
          <a:xfrm>
            <a:off x="5236580" y="1673470"/>
            <a:ext cx="1802422" cy="2162908"/>
          </a:xfrm>
          <a:prstGeom prst="homePlat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EP</a:t>
            </a:r>
          </a:p>
        </p:txBody>
      </p:sp>
      <p:sp>
        <p:nvSpPr>
          <p:cNvPr id="7" name="Richtungspfeil 6"/>
          <p:cNvSpPr/>
          <p:nvPr/>
        </p:nvSpPr>
        <p:spPr>
          <a:xfrm>
            <a:off x="7039002" y="1673470"/>
            <a:ext cx="1802422" cy="1934308"/>
          </a:xfrm>
          <a:prstGeom prst="homePlate">
            <a:avLst/>
          </a:prstGeom>
          <a:gradFill>
            <a:gsLst>
              <a:gs pos="100000">
                <a:schemeClr val="bg1">
                  <a:lumMod val="50000"/>
                </a:schemeClr>
              </a:gs>
              <a:gs pos="0">
                <a:srgbClr val="843C0C"/>
              </a:gs>
              <a:gs pos="33000">
                <a:srgbClr val="000000"/>
              </a:gs>
              <a:gs pos="67000">
                <a:srgbClr val="70AD47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EC</a:t>
            </a:r>
          </a:p>
        </p:txBody>
      </p:sp>
      <p:sp>
        <p:nvSpPr>
          <p:cNvPr id="8" name="Richtungspfeil 7"/>
          <p:cNvSpPr/>
          <p:nvPr/>
        </p:nvSpPr>
        <p:spPr>
          <a:xfrm>
            <a:off x="8841424" y="1673470"/>
            <a:ext cx="1802422" cy="1670538"/>
          </a:xfrm>
          <a:prstGeom prst="homePlate">
            <a:avLst/>
          </a:prstGeom>
          <a:gradFill>
            <a:gsLst>
              <a:gs pos="100000">
                <a:schemeClr val="bg1">
                  <a:lumMod val="50000"/>
                </a:schemeClr>
              </a:gs>
              <a:gs pos="0">
                <a:srgbClr val="843C0C"/>
              </a:gs>
              <a:gs pos="33000">
                <a:srgbClr val="000000"/>
              </a:gs>
              <a:gs pos="67000">
                <a:srgbClr val="70AD47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</a:p>
        </p:txBody>
      </p:sp>
      <p:sp>
        <p:nvSpPr>
          <p:cNvPr id="10" name="Gebogener Pfeil 9"/>
          <p:cNvSpPr/>
          <p:nvPr/>
        </p:nvSpPr>
        <p:spPr>
          <a:xfrm rot="5400000">
            <a:off x="2259653" y="4255578"/>
            <a:ext cx="2329960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Gebogener Pfeil 10"/>
          <p:cNvSpPr/>
          <p:nvPr/>
        </p:nvSpPr>
        <p:spPr>
          <a:xfrm rot="5400000">
            <a:off x="4071600" y="3856160"/>
            <a:ext cx="2329960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Gebogener Pfeil 11"/>
          <p:cNvSpPr/>
          <p:nvPr/>
        </p:nvSpPr>
        <p:spPr>
          <a:xfrm rot="5400000">
            <a:off x="5874022" y="3608818"/>
            <a:ext cx="2329960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Gebogener Pfeil 12"/>
          <p:cNvSpPr/>
          <p:nvPr/>
        </p:nvSpPr>
        <p:spPr>
          <a:xfrm rot="5400000" flipH="1">
            <a:off x="5881348" y="-318140"/>
            <a:ext cx="2338754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Gebogener Pfeil 14"/>
          <p:cNvSpPr/>
          <p:nvPr/>
        </p:nvSpPr>
        <p:spPr>
          <a:xfrm rot="16200000">
            <a:off x="7603906" y="3110655"/>
            <a:ext cx="2329960" cy="2004646"/>
          </a:xfrm>
          <a:prstGeom prst="circularArrow">
            <a:avLst>
              <a:gd name="adj1" fmla="val 11646"/>
              <a:gd name="adj2" fmla="val 1381430"/>
              <a:gd name="adj3" fmla="val 20558765"/>
              <a:gd name="adj4" fmla="val 17416965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Gebogener Pfeil 15"/>
          <p:cNvSpPr/>
          <p:nvPr/>
        </p:nvSpPr>
        <p:spPr>
          <a:xfrm rot="16200000" flipH="1">
            <a:off x="7703552" y="15532"/>
            <a:ext cx="2130670" cy="2004646"/>
          </a:xfrm>
          <a:prstGeom prst="circularArrow">
            <a:avLst>
              <a:gd name="adj1" fmla="val 11646"/>
              <a:gd name="adj2" fmla="val 1381430"/>
              <a:gd name="adj3" fmla="val 20558765"/>
              <a:gd name="adj4" fmla="val 17416965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Gebogener Pfeil 16"/>
          <p:cNvSpPr/>
          <p:nvPr/>
        </p:nvSpPr>
        <p:spPr>
          <a:xfrm rot="5400000">
            <a:off x="7689629" y="3379176"/>
            <a:ext cx="2329960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3418768" y="4992097"/>
            <a:ext cx="1309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nversion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losses (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enerator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5186024" y="4600412"/>
            <a:ext cx="13950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uxiliary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consumption</a:t>
            </a:r>
            <a:b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enerator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7000167" y="578073"/>
            <a:ext cx="10411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xports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7939751" y="895640"/>
            <a:ext cx="10411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mports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7055586" y="4342165"/>
            <a:ext cx="104115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torage charging (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umped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ydro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7868581" y="3884006"/>
            <a:ext cx="125474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torage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ischarging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umped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ydro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9123322" y="4121683"/>
            <a:ext cx="15481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ransformation &amp;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istribution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losses</a:t>
            </a:r>
          </a:p>
        </p:txBody>
      </p:sp>
      <p:sp>
        <p:nvSpPr>
          <p:cNvPr id="25" name="Richtungspfeil 24"/>
          <p:cNvSpPr/>
          <p:nvPr/>
        </p:nvSpPr>
        <p:spPr>
          <a:xfrm>
            <a:off x="1631736" y="1673470"/>
            <a:ext cx="1799861" cy="448408"/>
          </a:xfrm>
          <a:prstGeom prst="homePlate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Lignite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ichtungspfeil 25"/>
          <p:cNvSpPr/>
          <p:nvPr/>
        </p:nvSpPr>
        <p:spPr>
          <a:xfrm>
            <a:off x="1631735" y="2121877"/>
            <a:ext cx="1799861" cy="461665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Hard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al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ichtungspfeil 26"/>
          <p:cNvSpPr/>
          <p:nvPr/>
        </p:nvSpPr>
        <p:spPr>
          <a:xfrm>
            <a:off x="1631735" y="2583542"/>
            <a:ext cx="1799861" cy="383931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iomass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ichtungspfeil 27"/>
          <p:cNvSpPr/>
          <p:nvPr/>
        </p:nvSpPr>
        <p:spPr>
          <a:xfrm>
            <a:off x="3435439" y="1673470"/>
            <a:ext cx="1799861" cy="375783"/>
          </a:xfrm>
          <a:prstGeom prst="homePlate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Lignite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ichtungspfeil 28"/>
          <p:cNvSpPr/>
          <p:nvPr/>
        </p:nvSpPr>
        <p:spPr>
          <a:xfrm>
            <a:off x="3435438" y="2049253"/>
            <a:ext cx="1799861" cy="386893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Hard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al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ichtungspfeil 29"/>
          <p:cNvSpPr/>
          <p:nvPr/>
        </p:nvSpPr>
        <p:spPr>
          <a:xfrm>
            <a:off x="3435438" y="2436146"/>
            <a:ext cx="1799861" cy="321749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iomass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ichtungspfeil 30"/>
          <p:cNvSpPr/>
          <p:nvPr/>
        </p:nvSpPr>
        <p:spPr>
          <a:xfrm>
            <a:off x="5237861" y="1667433"/>
            <a:ext cx="1799861" cy="305108"/>
          </a:xfrm>
          <a:prstGeom prst="homePlate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Lignite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ichtungspfeil 31"/>
          <p:cNvSpPr/>
          <p:nvPr/>
        </p:nvSpPr>
        <p:spPr>
          <a:xfrm>
            <a:off x="5237860" y="1972541"/>
            <a:ext cx="1799861" cy="314128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Hard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al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ichtungspfeil 32"/>
          <p:cNvSpPr/>
          <p:nvPr/>
        </p:nvSpPr>
        <p:spPr>
          <a:xfrm>
            <a:off x="5237860" y="2286669"/>
            <a:ext cx="1799861" cy="26123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iomass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5" name="Gerader Verbinder 34"/>
          <p:cNvCxnSpPr/>
          <p:nvPr/>
        </p:nvCxnSpPr>
        <p:spPr>
          <a:xfrm>
            <a:off x="7037081" y="401516"/>
            <a:ext cx="641" cy="617806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/>
          <p:nvPr/>
        </p:nvCxnSpPr>
        <p:spPr>
          <a:xfrm>
            <a:off x="7217410" y="6094535"/>
            <a:ext cx="74954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/>
          <p:nvPr/>
        </p:nvCxnSpPr>
        <p:spPr>
          <a:xfrm flipH="1">
            <a:off x="4564520" y="6094535"/>
            <a:ext cx="229479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/>
          <p:cNvSpPr txBox="1"/>
          <p:nvPr/>
        </p:nvSpPr>
        <p:spPr>
          <a:xfrm>
            <a:off x="7217410" y="6141752"/>
            <a:ext cx="10411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id</a:t>
            </a:r>
            <a:endParaRPr lang="de-DE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4657482" y="6137641"/>
            <a:ext cx="22018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dividual </a:t>
            </a:r>
            <a:r>
              <a:rPr lang="de-DE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enerator</a:t>
            </a:r>
            <a:endParaRPr lang="de-DE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Freeform 1243">
            <a:extLst>
              <a:ext uri="{FF2B5EF4-FFF2-40B4-BE49-F238E27FC236}">
                <a16:creationId xmlns:a16="http://schemas.microsoft.com/office/drawing/2014/main" id="{1BE85B51-8F3C-42E5-99C9-235F62BD1997}"/>
              </a:ext>
            </a:extLst>
          </p:cNvPr>
          <p:cNvSpPr>
            <a:spLocks noChangeAspect="1"/>
          </p:cNvSpPr>
          <p:nvPr/>
        </p:nvSpPr>
        <p:spPr bwMode="auto">
          <a:xfrm>
            <a:off x="10775837" y="2241998"/>
            <a:ext cx="539215" cy="533481"/>
          </a:xfrm>
          <a:custGeom>
            <a:avLst/>
            <a:gdLst>
              <a:gd name="T0" fmla="*/ 574 w 590"/>
              <a:gd name="T1" fmla="*/ 211 h 590"/>
              <a:gd name="T2" fmla="*/ 442 w 590"/>
              <a:gd name="T3" fmla="*/ 342 h 590"/>
              <a:gd name="T4" fmla="*/ 492 w 590"/>
              <a:gd name="T5" fmla="*/ 391 h 590"/>
              <a:gd name="T6" fmla="*/ 439 w 590"/>
              <a:gd name="T7" fmla="*/ 443 h 590"/>
              <a:gd name="T8" fmla="*/ 177 w 590"/>
              <a:gd name="T9" fmla="*/ 471 h 590"/>
              <a:gd name="T10" fmla="*/ 59 w 590"/>
              <a:gd name="T11" fmla="*/ 590 h 590"/>
              <a:gd name="T12" fmla="*/ 0 w 590"/>
              <a:gd name="T13" fmla="*/ 590 h 590"/>
              <a:gd name="T14" fmla="*/ 0 w 590"/>
              <a:gd name="T15" fmla="*/ 530 h 590"/>
              <a:gd name="T16" fmla="*/ 118 w 590"/>
              <a:gd name="T17" fmla="*/ 412 h 590"/>
              <a:gd name="T18" fmla="*/ 146 w 590"/>
              <a:gd name="T19" fmla="*/ 150 h 590"/>
              <a:gd name="T20" fmla="*/ 199 w 590"/>
              <a:gd name="T21" fmla="*/ 98 h 590"/>
              <a:gd name="T22" fmla="*/ 248 w 590"/>
              <a:gd name="T23" fmla="*/ 147 h 590"/>
              <a:gd name="T24" fmla="*/ 378 w 590"/>
              <a:gd name="T25" fmla="*/ 16 h 590"/>
              <a:gd name="T26" fmla="*/ 438 w 590"/>
              <a:gd name="T27" fmla="*/ 16 h 590"/>
              <a:gd name="T28" fmla="*/ 438 w 590"/>
              <a:gd name="T29" fmla="*/ 75 h 590"/>
              <a:gd name="T30" fmla="*/ 307 w 590"/>
              <a:gd name="T31" fmla="*/ 206 h 590"/>
              <a:gd name="T32" fmla="*/ 383 w 590"/>
              <a:gd name="T33" fmla="*/ 283 h 590"/>
              <a:gd name="T34" fmla="*/ 514 w 590"/>
              <a:gd name="T35" fmla="*/ 152 h 590"/>
              <a:gd name="T36" fmla="*/ 574 w 590"/>
              <a:gd name="T37" fmla="*/ 152 h 590"/>
              <a:gd name="T38" fmla="*/ 574 w 590"/>
              <a:gd name="T39" fmla="*/ 211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90" h="590">
                <a:moveTo>
                  <a:pt x="574" y="211"/>
                </a:moveTo>
                <a:cubicBezTo>
                  <a:pt x="442" y="342"/>
                  <a:pt x="442" y="342"/>
                  <a:pt x="442" y="342"/>
                </a:cubicBezTo>
                <a:cubicBezTo>
                  <a:pt x="492" y="391"/>
                  <a:pt x="492" y="391"/>
                  <a:pt x="492" y="391"/>
                </a:cubicBezTo>
                <a:cubicBezTo>
                  <a:pt x="439" y="443"/>
                  <a:pt x="439" y="443"/>
                  <a:pt x="439" y="443"/>
                </a:cubicBezTo>
                <a:cubicBezTo>
                  <a:pt x="368" y="515"/>
                  <a:pt x="259" y="525"/>
                  <a:pt x="177" y="471"/>
                </a:cubicBezTo>
                <a:cubicBezTo>
                  <a:pt x="59" y="590"/>
                  <a:pt x="59" y="590"/>
                  <a:pt x="59" y="590"/>
                </a:cubicBezTo>
                <a:cubicBezTo>
                  <a:pt x="0" y="590"/>
                  <a:pt x="0" y="590"/>
                  <a:pt x="0" y="590"/>
                </a:cubicBezTo>
                <a:cubicBezTo>
                  <a:pt x="0" y="530"/>
                  <a:pt x="0" y="530"/>
                  <a:pt x="0" y="530"/>
                </a:cubicBezTo>
                <a:cubicBezTo>
                  <a:pt x="118" y="412"/>
                  <a:pt x="118" y="412"/>
                  <a:pt x="118" y="412"/>
                </a:cubicBezTo>
                <a:cubicBezTo>
                  <a:pt x="65" y="331"/>
                  <a:pt x="75" y="222"/>
                  <a:pt x="146" y="150"/>
                </a:cubicBezTo>
                <a:cubicBezTo>
                  <a:pt x="199" y="98"/>
                  <a:pt x="199" y="98"/>
                  <a:pt x="199" y="98"/>
                </a:cubicBezTo>
                <a:cubicBezTo>
                  <a:pt x="248" y="147"/>
                  <a:pt x="248" y="147"/>
                  <a:pt x="248" y="147"/>
                </a:cubicBezTo>
                <a:cubicBezTo>
                  <a:pt x="378" y="16"/>
                  <a:pt x="378" y="16"/>
                  <a:pt x="378" y="16"/>
                </a:cubicBezTo>
                <a:cubicBezTo>
                  <a:pt x="395" y="0"/>
                  <a:pt x="421" y="0"/>
                  <a:pt x="438" y="16"/>
                </a:cubicBezTo>
                <a:cubicBezTo>
                  <a:pt x="454" y="32"/>
                  <a:pt x="454" y="59"/>
                  <a:pt x="438" y="75"/>
                </a:cubicBezTo>
                <a:cubicBezTo>
                  <a:pt x="307" y="206"/>
                  <a:pt x="307" y="206"/>
                  <a:pt x="307" y="206"/>
                </a:cubicBezTo>
                <a:cubicBezTo>
                  <a:pt x="383" y="283"/>
                  <a:pt x="383" y="283"/>
                  <a:pt x="383" y="283"/>
                </a:cubicBezTo>
                <a:cubicBezTo>
                  <a:pt x="514" y="152"/>
                  <a:pt x="514" y="152"/>
                  <a:pt x="514" y="152"/>
                </a:cubicBezTo>
                <a:cubicBezTo>
                  <a:pt x="531" y="136"/>
                  <a:pt x="557" y="136"/>
                  <a:pt x="574" y="152"/>
                </a:cubicBezTo>
                <a:cubicBezTo>
                  <a:pt x="590" y="168"/>
                  <a:pt x="590" y="195"/>
                  <a:pt x="574" y="2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45" name="Gruppieren 44"/>
          <p:cNvGrpSpPr/>
          <p:nvPr/>
        </p:nvGrpSpPr>
        <p:grpSpPr>
          <a:xfrm>
            <a:off x="522307" y="2753847"/>
            <a:ext cx="881384" cy="881384"/>
            <a:chOff x="369907" y="2386424"/>
            <a:chExt cx="881384" cy="881384"/>
          </a:xfrm>
        </p:grpSpPr>
        <p:sp>
          <p:nvSpPr>
            <p:cNvPr id="46" name="Freeform 1375">
              <a:extLst>
                <a:ext uri="{FF2B5EF4-FFF2-40B4-BE49-F238E27FC236}">
                  <a16:creationId xmlns:a16="http://schemas.microsoft.com/office/drawing/2014/main" id="{FA07138B-1F0B-46EB-A72F-4E917BCEC3D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9907" y="2386424"/>
              <a:ext cx="881384" cy="881384"/>
            </a:xfrm>
            <a:custGeom>
              <a:avLst/>
              <a:gdLst>
                <a:gd name="T0" fmla="*/ 168 w 586"/>
                <a:gd name="T1" fmla="*/ 20 h 585"/>
                <a:gd name="T2" fmla="*/ 168 w 586"/>
                <a:gd name="T3" fmla="*/ 312 h 585"/>
                <a:gd name="T4" fmla="*/ 343 w 586"/>
                <a:gd name="T5" fmla="*/ 171 h 585"/>
                <a:gd name="T6" fmla="*/ 356 w 586"/>
                <a:gd name="T7" fmla="*/ 167 h 585"/>
                <a:gd name="T8" fmla="*/ 377 w 586"/>
                <a:gd name="T9" fmla="*/ 188 h 585"/>
                <a:gd name="T10" fmla="*/ 377 w 586"/>
                <a:gd name="T11" fmla="*/ 312 h 585"/>
                <a:gd name="T12" fmla="*/ 552 w 586"/>
                <a:gd name="T13" fmla="*/ 171 h 585"/>
                <a:gd name="T14" fmla="*/ 565 w 586"/>
                <a:gd name="T15" fmla="*/ 167 h 585"/>
                <a:gd name="T16" fmla="*/ 586 w 586"/>
                <a:gd name="T17" fmla="*/ 188 h 585"/>
                <a:gd name="T18" fmla="*/ 586 w 586"/>
                <a:gd name="T19" fmla="*/ 564 h 585"/>
                <a:gd name="T20" fmla="*/ 565 w 586"/>
                <a:gd name="T21" fmla="*/ 585 h 585"/>
                <a:gd name="T22" fmla="*/ 21 w 586"/>
                <a:gd name="T23" fmla="*/ 585 h 585"/>
                <a:gd name="T24" fmla="*/ 0 w 586"/>
                <a:gd name="T25" fmla="*/ 564 h 585"/>
                <a:gd name="T26" fmla="*/ 0 w 586"/>
                <a:gd name="T27" fmla="*/ 20 h 585"/>
                <a:gd name="T28" fmla="*/ 21 w 586"/>
                <a:gd name="T29" fmla="*/ 0 h 585"/>
                <a:gd name="T30" fmla="*/ 147 w 586"/>
                <a:gd name="T31" fmla="*/ 0 h 585"/>
                <a:gd name="T32" fmla="*/ 168 w 586"/>
                <a:gd name="T33" fmla="*/ 2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6" h="585">
                  <a:moveTo>
                    <a:pt x="168" y="20"/>
                  </a:moveTo>
                  <a:cubicBezTo>
                    <a:pt x="168" y="312"/>
                    <a:pt x="168" y="312"/>
                    <a:pt x="168" y="312"/>
                  </a:cubicBezTo>
                  <a:cubicBezTo>
                    <a:pt x="343" y="171"/>
                    <a:pt x="343" y="171"/>
                    <a:pt x="343" y="171"/>
                  </a:cubicBezTo>
                  <a:cubicBezTo>
                    <a:pt x="346" y="168"/>
                    <a:pt x="351" y="167"/>
                    <a:pt x="356" y="167"/>
                  </a:cubicBezTo>
                  <a:cubicBezTo>
                    <a:pt x="367" y="167"/>
                    <a:pt x="377" y="176"/>
                    <a:pt x="377" y="188"/>
                  </a:cubicBezTo>
                  <a:cubicBezTo>
                    <a:pt x="377" y="312"/>
                    <a:pt x="377" y="312"/>
                    <a:pt x="377" y="312"/>
                  </a:cubicBezTo>
                  <a:cubicBezTo>
                    <a:pt x="552" y="171"/>
                    <a:pt x="552" y="171"/>
                    <a:pt x="552" y="171"/>
                  </a:cubicBezTo>
                  <a:cubicBezTo>
                    <a:pt x="555" y="168"/>
                    <a:pt x="560" y="167"/>
                    <a:pt x="565" y="167"/>
                  </a:cubicBezTo>
                  <a:cubicBezTo>
                    <a:pt x="576" y="167"/>
                    <a:pt x="586" y="176"/>
                    <a:pt x="586" y="188"/>
                  </a:cubicBezTo>
                  <a:cubicBezTo>
                    <a:pt x="586" y="564"/>
                    <a:pt x="586" y="564"/>
                    <a:pt x="586" y="564"/>
                  </a:cubicBezTo>
                  <a:cubicBezTo>
                    <a:pt x="586" y="576"/>
                    <a:pt x="576" y="585"/>
                    <a:pt x="565" y="585"/>
                  </a:cubicBezTo>
                  <a:cubicBezTo>
                    <a:pt x="21" y="585"/>
                    <a:pt x="21" y="585"/>
                    <a:pt x="21" y="585"/>
                  </a:cubicBezTo>
                  <a:cubicBezTo>
                    <a:pt x="10" y="585"/>
                    <a:pt x="0" y="576"/>
                    <a:pt x="0" y="56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8" y="0"/>
                    <a:pt x="168" y="9"/>
                    <a:pt x="168" y="2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" name="Freeform 1005">
              <a:extLst>
                <a:ext uri="{FF2B5EF4-FFF2-40B4-BE49-F238E27FC236}">
                  <a16:creationId xmlns:a16="http://schemas.microsoft.com/office/drawing/2014/main" id="{8B18C199-318B-4299-B228-DC856040251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12760" y="2759370"/>
              <a:ext cx="195679" cy="365835"/>
            </a:xfrm>
            <a:custGeom>
              <a:avLst/>
              <a:gdLst>
                <a:gd name="T0" fmla="*/ 292 w 294"/>
                <a:gd name="T1" fmla="*/ 157 h 544"/>
                <a:gd name="T2" fmla="*/ 116 w 294"/>
                <a:gd name="T3" fmla="*/ 535 h 544"/>
                <a:gd name="T4" fmla="*/ 102 w 294"/>
                <a:gd name="T5" fmla="*/ 544 h 544"/>
                <a:gd name="T6" fmla="*/ 97 w 294"/>
                <a:gd name="T7" fmla="*/ 543 h 544"/>
                <a:gd name="T8" fmla="*/ 88 w 294"/>
                <a:gd name="T9" fmla="*/ 527 h 544"/>
                <a:gd name="T10" fmla="*/ 152 w 294"/>
                <a:gd name="T11" fmla="*/ 263 h 544"/>
                <a:gd name="T12" fmla="*/ 19 w 294"/>
                <a:gd name="T13" fmla="*/ 296 h 544"/>
                <a:gd name="T14" fmla="*/ 15 w 294"/>
                <a:gd name="T15" fmla="*/ 296 h 544"/>
                <a:gd name="T16" fmla="*/ 5 w 294"/>
                <a:gd name="T17" fmla="*/ 293 h 544"/>
                <a:gd name="T18" fmla="*/ 1 w 294"/>
                <a:gd name="T19" fmla="*/ 280 h 544"/>
                <a:gd name="T20" fmla="*/ 67 w 294"/>
                <a:gd name="T21" fmla="*/ 10 h 544"/>
                <a:gd name="T22" fmla="*/ 81 w 294"/>
                <a:gd name="T23" fmla="*/ 0 h 544"/>
                <a:gd name="T24" fmla="*/ 188 w 294"/>
                <a:gd name="T25" fmla="*/ 0 h 544"/>
                <a:gd name="T26" fmla="*/ 203 w 294"/>
                <a:gd name="T27" fmla="*/ 14 h 544"/>
                <a:gd name="T28" fmla="*/ 201 w 294"/>
                <a:gd name="T29" fmla="*/ 19 h 544"/>
                <a:gd name="T30" fmla="*/ 145 w 294"/>
                <a:gd name="T31" fmla="*/ 171 h 544"/>
                <a:gd name="T32" fmla="*/ 275 w 294"/>
                <a:gd name="T33" fmla="*/ 139 h 544"/>
                <a:gd name="T34" fmla="*/ 279 w 294"/>
                <a:gd name="T35" fmla="*/ 138 h 544"/>
                <a:gd name="T36" fmla="*/ 290 w 294"/>
                <a:gd name="T37" fmla="*/ 143 h 544"/>
                <a:gd name="T38" fmla="*/ 292 w 294"/>
                <a:gd name="T39" fmla="*/ 157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544">
                  <a:moveTo>
                    <a:pt x="292" y="157"/>
                  </a:moveTo>
                  <a:cubicBezTo>
                    <a:pt x="116" y="535"/>
                    <a:pt x="116" y="535"/>
                    <a:pt x="116" y="535"/>
                  </a:cubicBezTo>
                  <a:cubicBezTo>
                    <a:pt x="113" y="540"/>
                    <a:pt x="108" y="544"/>
                    <a:pt x="102" y="544"/>
                  </a:cubicBezTo>
                  <a:cubicBezTo>
                    <a:pt x="101" y="544"/>
                    <a:pt x="99" y="543"/>
                    <a:pt x="97" y="543"/>
                  </a:cubicBezTo>
                  <a:cubicBezTo>
                    <a:pt x="90" y="541"/>
                    <a:pt x="86" y="534"/>
                    <a:pt x="88" y="527"/>
                  </a:cubicBezTo>
                  <a:cubicBezTo>
                    <a:pt x="152" y="263"/>
                    <a:pt x="152" y="263"/>
                    <a:pt x="152" y="263"/>
                  </a:cubicBezTo>
                  <a:cubicBezTo>
                    <a:pt x="19" y="296"/>
                    <a:pt x="19" y="296"/>
                    <a:pt x="19" y="296"/>
                  </a:cubicBezTo>
                  <a:cubicBezTo>
                    <a:pt x="18" y="296"/>
                    <a:pt x="17" y="296"/>
                    <a:pt x="15" y="296"/>
                  </a:cubicBezTo>
                  <a:cubicBezTo>
                    <a:pt x="12" y="296"/>
                    <a:pt x="8" y="295"/>
                    <a:pt x="5" y="293"/>
                  </a:cubicBezTo>
                  <a:cubicBezTo>
                    <a:pt x="1" y="289"/>
                    <a:pt x="0" y="284"/>
                    <a:pt x="1" y="28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4"/>
                    <a:pt x="74" y="0"/>
                    <a:pt x="81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96" y="0"/>
                    <a:pt x="203" y="6"/>
                    <a:pt x="203" y="14"/>
                  </a:cubicBezTo>
                  <a:cubicBezTo>
                    <a:pt x="203" y="15"/>
                    <a:pt x="202" y="17"/>
                    <a:pt x="201" y="19"/>
                  </a:cubicBezTo>
                  <a:cubicBezTo>
                    <a:pt x="145" y="171"/>
                    <a:pt x="145" y="171"/>
                    <a:pt x="145" y="171"/>
                  </a:cubicBezTo>
                  <a:cubicBezTo>
                    <a:pt x="275" y="139"/>
                    <a:pt x="275" y="139"/>
                    <a:pt x="275" y="139"/>
                  </a:cubicBezTo>
                  <a:cubicBezTo>
                    <a:pt x="276" y="138"/>
                    <a:pt x="277" y="138"/>
                    <a:pt x="279" y="138"/>
                  </a:cubicBezTo>
                  <a:cubicBezTo>
                    <a:pt x="283" y="138"/>
                    <a:pt x="287" y="140"/>
                    <a:pt x="290" y="143"/>
                  </a:cubicBezTo>
                  <a:cubicBezTo>
                    <a:pt x="293" y="147"/>
                    <a:pt x="294" y="152"/>
                    <a:pt x="292" y="1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9" name="Textfeld 48"/>
          <p:cNvSpPr txBox="1"/>
          <p:nvPr/>
        </p:nvSpPr>
        <p:spPr>
          <a:xfrm>
            <a:off x="9054874" y="5842337"/>
            <a:ext cx="313712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E: 	Primary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nergy</a:t>
            </a:r>
            <a:endParaRPr lang="de-DE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GEP:	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oss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electricity production</a:t>
            </a: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NEP:	Net electricity production</a:t>
            </a: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GEC:	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oss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electricity consumption</a:t>
            </a: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NEC:	Net electricity consumption 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8927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2" grpId="0" animBg="1"/>
      <p:bldP spid="13" grpId="0" animBg="1"/>
      <p:bldP spid="15" grpId="0" animBg="1"/>
      <p:bldP spid="16" grpId="0" animBg="1"/>
      <p:bldP spid="17" grpId="0" animBg="1"/>
      <p:bldP spid="20" grpId="0"/>
      <p:bldP spid="21" grpId="0"/>
      <p:bldP spid="22" grpId="0"/>
      <p:bldP spid="23" grpId="0"/>
      <p:bldP spid="24" grpId="0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41" grpId="0"/>
      <p:bldP spid="4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chtungspfeil 3"/>
          <p:cNvSpPr/>
          <p:nvPr/>
        </p:nvSpPr>
        <p:spPr>
          <a:xfrm>
            <a:off x="1631736" y="2121878"/>
            <a:ext cx="1802422" cy="2593730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  <a:b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MAP)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ichtungspfeil 4"/>
          <p:cNvSpPr/>
          <p:nvPr/>
        </p:nvSpPr>
        <p:spPr>
          <a:xfrm>
            <a:off x="3434158" y="2043612"/>
            <a:ext cx="1802422" cy="2206003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EP</a:t>
            </a:r>
            <a:b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MAP)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ichtungspfeil 6"/>
          <p:cNvSpPr/>
          <p:nvPr/>
        </p:nvSpPr>
        <p:spPr>
          <a:xfrm>
            <a:off x="7039002" y="1673470"/>
            <a:ext cx="1802422" cy="1934308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EC</a:t>
            </a:r>
          </a:p>
        </p:txBody>
      </p:sp>
      <p:sp>
        <p:nvSpPr>
          <p:cNvPr id="8" name="Richtungspfeil 7"/>
          <p:cNvSpPr/>
          <p:nvPr/>
        </p:nvSpPr>
        <p:spPr>
          <a:xfrm>
            <a:off x="8841424" y="1673470"/>
            <a:ext cx="1802422" cy="1670538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</a:p>
        </p:txBody>
      </p:sp>
      <p:sp>
        <p:nvSpPr>
          <p:cNvPr id="10" name="Gebogener Pfeil 9"/>
          <p:cNvSpPr/>
          <p:nvPr/>
        </p:nvSpPr>
        <p:spPr>
          <a:xfrm rot="5400000">
            <a:off x="2259653" y="4255578"/>
            <a:ext cx="2329960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Gebogener Pfeil 10"/>
          <p:cNvSpPr/>
          <p:nvPr/>
        </p:nvSpPr>
        <p:spPr>
          <a:xfrm rot="5400000">
            <a:off x="4071600" y="3856160"/>
            <a:ext cx="2329960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Gebogener Pfeil 11"/>
          <p:cNvSpPr/>
          <p:nvPr/>
        </p:nvSpPr>
        <p:spPr>
          <a:xfrm rot="5400000">
            <a:off x="5874022" y="3608818"/>
            <a:ext cx="2329960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Gebogener Pfeil 12"/>
          <p:cNvSpPr/>
          <p:nvPr/>
        </p:nvSpPr>
        <p:spPr>
          <a:xfrm rot="5400000" flipH="1">
            <a:off x="5881348" y="-318140"/>
            <a:ext cx="2338754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Gebogener Pfeil 14"/>
          <p:cNvSpPr/>
          <p:nvPr/>
        </p:nvSpPr>
        <p:spPr>
          <a:xfrm rot="16200000">
            <a:off x="7603906" y="3110655"/>
            <a:ext cx="2329960" cy="2004646"/>
          </a:xfrm>
          <a:prstGeom prst="circularArrow">
            <a:avLst>
              <a:gd name="adj1" fmla="val 11646"/>
              <a:gd name="adj2" fmla="val 1381430"/>
              <a:gd name="adj3" fmla="val 20558765"/>
              <a:gd name="adj4" fmla="val 17416965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Gebogener Pfeil 15"/>
          <p:cNvSpPr/>
          <p:nvPr/>
        </p:nvSpPr>
        <p:spPr>
          <a:xfrm rot="16200000" flipH="1">
            <a:off x="7703552" y="15532"/>
            <a:ext cx="2130670" cy="2004646"/>
          </a:xfrm>
          <a:prstGeom prst="circularArrow">
            <a:avLst>
              <a:gd name="adj1" fmla="val 11646"/>
              <a:gd name="adj2" fmla="val 1381430"/>
              <a:gd name="adj3" fmla="val 20558765"/>
              <a:gd name="adj4" fmla="val 17416965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Gebogener Pfeil 16"/>
          <p:cNvSpPr/>
          <p:nvPr/>
        </p:nvSpPr>
        <p:spPr>
          <a:xfrm rot="5400000">
            <a:off x="7689629" y="3379176"/>
            <a:ext cx="2329960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3418768" y="4992097"/>
            <a:ext cx="1309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nversion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losses (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enerator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5186024" y="4600412"/>
            <a:ext cx="13950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uxiliary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consumption</a:t>
            </a:r>
            <a:b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enerator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7565170" y="635189"/>
            <a:ext cx="10411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xports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8224403" y="1046869"/>
            <a:ext cx="10411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mports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7055586" y="4342165"/>
            <a:ext cx="104115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torage charging (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umped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ydro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7868581" y="3884006"/>
            <a:ext cx="125474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torage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ischarging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umped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ydro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9123322" y="4121683"/>
            <a:ext cx="15481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ransformation &amp;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istribution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losses</a:t>
            </a:r>
          </a:p>
        </p:txBody>
      </p:sp>
      <p:sp>
        <p:nvSpPr>
          <p:cNvPr id="25" name="Richtungspfeil 24"/>
          <p:cNvSpPr/>
          <p:nvPr/>
        </p:nvSpPr>
        <p:spPr>
          <a:xfrm>
            <a:off x="1631736" y="1673470"/>
            <a:ext cx="1799861" cy="448408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(AP)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ichtungspfeil 27"/>
          <p:cNvSpPr/>
          <p:nvPr/>
        </p:nvSpPr>
        <p:spPr>
          <a:xfrm>
            <a:off x="3435439" y="1673470"/>
            <a:ext cx="1799861" cy="375783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EP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(AP)</a:t>
            </a:r>
          </a:p>
        </p:txBody>
      </p:sp>
      <p:sp>
        <p:nvSpPr>
          <p:cNvPr id="31" name="Richtungspfeil 30"/>
          <p:cNvSpPr/>
          <p:nvPr/>
        </p:nvSpPr>
        <p:spPr>
          <a:xfrm>
            <a:off x="5237861" y="1667433"/>
            <a:ext cx="1799861" cy="305108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EP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(AP)</a:t>
            </a:r>
          </a:p>
        </p:txBody>
      </p:sp>
      <p:cxnSp>
        <p:nvCxnSpPr>
          <p:cNvPr id="35" name="Gerader Verbinder 34"/>
          <p:cNvCxnSpPr/>
          <p:nvPr/>
        </p:nvCxnSpPr>
        <p:spPr>
          <a:xfrm>
            <a:off x="7037081" y="401516"/>
            <a:ext cx="641" cy="617806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/>
          <p:nvPr/>
        </p:nvCxnSpPr>
        <p:spPr>
          <a:xfrm>
            <a:off x="7217410" y="6094535"/>
            <a:ext cx="74954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/>
          <p:nvPr/>
        </p:nvCxnSpPr>
        <p:spPr>
          <a:xfrm flipH="1">
            <a:off x="4564520" y="6094535"/>
            <a:ext cx="229479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/>
          <p:cNvSpPr txBox="1"/>
          <p:nvPr/>
        </p:nvSpPr>
        <p:spPr>
          <a:xfrm>
            <a:off x="7217410" y="6141752"/>
            <a:ext cx="10411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id</a:t>
            </a:r>
            <a:endParaRPr lang="de-DE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4657482" y="6137641"/>
            <a:ext cx="22018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dividual </a:t>
            </a:r>
            <a:r>
              <a:rPr lang="de-DE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enerator</a:t>
            </a:r>
            <a:endParaRPr lang="de-DE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Gebogener Pfeil 35"/>
          <p:cNvSpPr/>
          <p:nvPr/>
        </p:nvSpPr>
        <p:spPr>
          <a:xfrm rot="5400000" flipH="1">
            <a:off x="5881348" y="-1240815"/>
            <a:ext cx="2338754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7766563" y="25646"/>
            <a:ext cx="35794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onsumption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y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„Auto-consumers“</a:t>
            </a:r>
          </a:p>
        </p:txBody>
      </p:sp>
      <p:sp>
        <p:nvSpPr>
          <p:cNvPr id="33" name="Freeform 1243">
            <a:extLst>
              <a:ext uri="{FF2B5EF4-FFF2-40B4-BE49-F238E27FC236}">
                <a16:creationId xmlns:a16="http://schemas.microsoft.com/office/drawing/2014/main" id="{1BE85B51-8F3C-42E5-99C9-235F62BD1997}"/>
              </a:ext>
            </a:extLst>
          </p:cNvPr>
          <p:cNvSpPr>
            <a:spLocks noChangeAspect="1"/>
          </p:cNvSpPr>
          <p:nvPr/>
        </p:nvSpPr>
        <p:spPr bwMode="auto">
          <a:xfrm>
            <a:off x="10775837" y="2241998"/>
            <a:ext cx="539215" cy="533481"/>
          </a:xfrm>
          <a:custGeom>
            <a:avLst/>
            <a:gdLst>
              <a:gd name="T0" fmla="*/ 574 w 590"/>
              <a:gd name="T1" fmla="*/ 211 h 590"/>
              <a:gd name="T2" fmla="*/ 442 w 590"/>
              <a:gd name="T3" fmla="*/ 342 h 590"/>
              <a:gd name="T4" fmla="*/ 492 w 590"/>
              <a:gd name="T5" fmla="*/ 391 h 590"/>
              <a:gd name="T6" fmla="*/ 439 w 590"/>
              <a:gd name="T7" fmla="*/ 443 h 590"/>
              <a:gd name="T8" fmla="*/ 177 w 590"/>
              <a:gd name="T9" fmla="*/ 471 h 590"/>
              <a:gd name="T10" fmla="*/ 59 w 590"/>
              <a:gd name="T11" fmla="*/ 590 h 590"/>
              <a:gd name="T12" fmla="*/ 0 w 590"/>
              <a:gd name="T13" fmla="*/ 590 h 590"/>
              <a:gd name="T14" fmla="*/ 0 w 590"/>
              <a:gd name="T15" fmla="*/ 530 h 590"/>
              <a:gd name="T16" fmla="*/ 118 w 590"/>
              <a:gd name="T17" fmla="*/ 412 h 590"/>
              <a:gd name="T18" fmla="*/ 146 w 590"/>
              <a:gd name="T19" fmla="*/ 150 h 590"/>
              <a:gd name="T20" fmla="*/ 199 w 590"/>
              <a:gd name="T21" fmla="*/ 98 h 590"/>
              <a:gd name="T22" fmla="*/ 248 w 590"/>
              <a:gd name="T23" fmla="*/ 147 h 590"/>
              <a:gd name="T24" fmla="*/ 378 w 590"/>
              <a:gd name="T25" fmla="*/ 16 h 590"/>
              <a:gd name="T26" fmla="*/ 438 w 590"/>
              <a:gd name="T27" fmla="*/ 16 h 590"/>
              <a:gd name="T28" fmla="*/ 438 w 590"/>
              <a:gd name="T29" fmla="*/ 75 h 590"/>
              <a:gd name="T30" fmla="*/ 307 w 590"/>
              <a:gd name="T31" fmla="*/ 206 h 590"/>
              <a:gd name="T32" fmla="*/ 383 w 590"/>
              <a:gd name="T33" fmla="*/ 283 h 590"/>
              <a:gd name="T34" fmla="*/ 514 w 590"/>
              <a:gd name="T35" fmla="*/ 152 h 590"/>
              <a:gd name="T36" fmla="*/ 574 w 590"/>
              <a:gd name="T37" fmla="*/ 152 h 590"/>
              <a:gd name="T38" fmla="*/ 574 w 590"/>
              <a:gd name="T39" fmla="*/ 211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90" h="590">
                <a:moveTo>
                  <a:pt x="574" y="211"/>
                </a:moveTo>
                <a:cubicBezTo>
                  <a:pt x="442" y="342"/>
                  <a:pt x="442" y="342"/>
                  <a:pt x="442" y="342"/>
                </a:cubicBezTo>
                <a:cubicBezTo>
                  <a:pt x="492" y="391"/>
                  <a:pt x="492" y="391"/>
                  <a:pt x="492" y="391"/>
                </a:cubicBezTo>
                <a:cubicBezTo>
                  <a:pt x="439" y="443"/>
                  <a:pt x="439" y="443"/>
                  <a:pt x="439" y="443"/>
                </a:cubicBezTo>
                <a:cubicBezTo>
                  <a:pt x="368" y="515"/>
                  <a:pt x="259" y="525"/>
                  <a:pt x="177" y="471"/>
                </a:cubicBezTo>
                <a:cubicBezTo>
                  <a:pt x="59" y="590"/>
                  <a:pt x="59" y="590"/>
                  <a:pt x="59" y="590"/>
                </a:cubicBezTo>
                <a:cubicBezTo>
                  <a:pt x="0" y="590"/>
                  <a:pt x="0" y="590"/>
                  <a:pt x="0" y="590"/>
                </a:cubicBezTo>
                <a:cubicBezTo>
                  <a:pt x="0" y="530"/>
                  <a:pt x="0" y="530"/>
                  <a:pt x="0" y="530"/>
                </a:cubicBezTo>
                <a:cubicBezTo>
                  <a:pt x="118" y="412"/>
                  <a:pt x="118" y="412"/>
                  <a:pt x="118" y="412"/>
                </a:cubicBezTo>
                <a:cubicBezTo>
                  <a:pt x="65" y="331"/>
                  <a:pt x="75" y="222"/>
                  <a:pt x="146" y="150"/>
                </a:cubicBezTo>
                <a:cubicBezTo>
                  <a:pt x="199" y="98"/>
                  <a:pt x="199" y="98"/>
                  <a:pt x="199" y="98"/>
                </a:cubicBezTo>
                <a:cubicBezTo>
                  <a:pt x="248" y="147"/>
                  <a:pt x="248" y="147"/>
                  <a:pt x="248" y="147"/>
                </a:cubicBezTo>
                <a:cubicBezTo>
                  <a:pt x="378" y="16"/>
                  <a:pt x="378" y="16"/>
                  <a:pt x="378" y="16"/>
                </a:cubicBezTo>
                <a:cubicBezTo>
                  <a:pt x="395" y="0"/>
                  <a:pt x="421" y="0"/>
                  <a:pt x="438" y="16"/>
                </a:cubicBezTo>
                <a:cubicBezTo>
                  <a:pt x="454" y="32"/>
                  <a:pt x="454" y="59"/>
                  <a:pt x="438" y="75"/>
                </a:cubicBezTo>
                <a:cubicBezTo>
                  <a:pt x="307" y="206"/>
                  <a:pt x="307" y="206"/>
                  <a:pt x="307" y="206"/>
                </a:cubicBezTo>
                <a:cubicBezTo>
                  <a:pt x="383" y="283"/>
                  <a:pt x="383" y="283"/>
                  <a:pt x="383" y="283"/>
                </a:cubicBezTo>
                <a:cubicBezTo>
                  <a:pt x="514" y="152"/>
                  <a:pt x="514" y="152"/>
                  <a:pt x="514" y="152"/>
                </a:cubicBezTo>
                <a:cubicBezTo>
                  <a:pt x="531" y="136"/>
                  <a:pt x="557" y="136"/>
                  <a:pt x="574" y="152"/>
                </a:cubicBezTo>
                <a:cubicBezTo>
                  <a:pt x="590" y="168"/>
                  <a:pt x="590" y="195"/>
                  <a:pt x="574" y="2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34" name="Gruppieren 33"/>
          <p:cNvGrpSpPr/>
          <p:nvPr/>
        </p:nvGrpSpPr>
        <p:grpSpPr>
          <a:xfrm>
            <a:off x="522307" y="2753847"/>
            <a:ext cx="881384" cy="881384"/>
            <a:chOff x="369907" y="2386424"/>
            <a:chExt cx="881384" cy="881384"/>
          </a:xfrm>
        </p:grpSpPr>
        <p:sp>
          <p:nvSpPr>
            <p:cNvPr id="40" name="Freeform 1375">
              <a:extLst>
                <a:ext uri="{FF2B5EF4-FFF2-40B4-BE49-F238E27FC236}">
                  <a16:creationId xmlns:a16="http://schemas.microsoft.com/office/drawing/2014/main" id="{FA07138B-1F0B-46EB-A72F-4E917BCEC3D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9907" y="2386424"/>
              <a:ext cx="881384" cy="881384"/>
            </a:xfrm>
            <a:custGeom>
              <a:avLst/>
              <a:gdLst>
                <a:gd name="T0" fmla="*/ 168 w 586"/>
                <a:gd name="T1" fmla="*/ 20 h 585"/>
                <a:gd name="T2" fmla="*/ 168 w 586"/>
                <a:gd name="T3" fmla="*/ 312 h 585"/>
                <a:gd name="T4" fmla="*/ 343 w 586"/>
                <a:gd name="T5" fmla="*/ 171 h 585"/>
                <a:gd name="T6" fmla="*/ 356 w 586"/>
                <a:gd name="T7" fmla="*/ 167 h 585"/>
                <a:gd name="T8" fmla="*/ 377 w 586"/>
                <a:gd name="T9" fmla="*/ 188 h 585"/>
                <a:gd name="T10" fmla="*/ 377 w 586"/>
                <a:gd name="T11" fmla="*/ 312 h 585"/>
                <a:gd name="T12" fmla="*/ 552 w 586"/>
                <a:gd name="T13" fmla="*/ 171 h 585"/>
                <a:gd name="T14" fmla="*/ 565 w 586"/>
                <a:gd name="T15" fmla="*/ 167 h 585"/>
                <a:gd name="T16" fmla="*/ 586 w 586"/>
                <a:gd name="T17" fmla="*/ 188 h 585"/>
                <a:gd name="T18" fmla="*/ 586 w 586"/>
                <a:gd name="T19" fmla="*/ 564 h 585"/>
                <a:gd name="T20" fmla="*/ 565 w 586"/>
                <a:gd name="T21" fmla="*/ 585 h 585"/>
                <a:gd name="T22" fmla="*/ 21 w 586"/>
                <a:gd name="T23" fmla="*/ 585 h 585"/>
                <a:gd name="T24" fmla="*/ 0 w 586"/>
                <a:gd name="T25" fmla="*/ 564 h 585"/>
                <a:gd name="T26" fmla="*/ 0 w 586"/>
                <a:gd name="T27" fmla="*/ 20 h 585"/>
                <a:gd name="T28" fmla="*/ 21 w 586"/>
                <a:gd name="T29" fmla="*/ 0 h 585"/>
                <a:gd name="T30" fmla="*/ 147 w 586"/>
                <a:gd name="T31" fmla="*/ 0 h 585"/>
                <a:gd name="T32" fmla="*/ 168 w 586"/>
                <a:gd name="T33" fmla="*/ 2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6" h="585">
                  <a:moveTo>
                    <a:pt x="168" y="20"/>
                  </a:moveTo>
                  <a:cubicBezTo>
                    <a:pt x="168" y="312"/>
                    <a:pt x="168" y="312"/>
                    <a:pt x="168" y="312"/>
                  </a:cubicBezTo>
                  <a:cubicBezTo>
                    <a:pt x="343" y="171"/>
                    <a:pt x="343" y="171"/>
                    <a:pt x="343" y="171"/>
                  </a:cubicBezTo>
                  <a:cubicBezTo>
                    <a:pt x="346" y="168"/>
                    <a:pt x="351" y="167"/>
                    <a:pt x="356" y="167"/>
                  </a:cubicBezTo>
                  <a:cubicBezTo>
                    <a:pt x="367" y="167"/>
                    <a:pt x="377" y="176"/>
                    <a:pt x="377" y="188"/>
                  </a:cubicBezTo>
                  <a:cubicBezTo>
                    <a:pt x="377" y="312"/>
                    <a:pt x="377" y="312"/>
                    <a:pt x="377" y="312"/>
                  </a:cubicBezTo>
                  <a:cubicBezTo>
                    <a:pt x="552" y="171"/>
                    <a:pt x="552" y="171"/>
                    <a:pt x="552" y="171"/>
                  </a:cubicBezTo>
                  <a:cubicBezTo>
                    <a:pt x="555" y="168"/>
                    <a:pt x="560" y="167"/>
                    <a:pt x="565" y="167"/>
                  </a:cubicBezTo>
                  <a:cubicBezTo>
                    <a:pt x="576" y="167"/>
                    <a:pt x="586" y="176"/>
                    <a:pt x="586" y="188"/>
                  </a:cubicBezTo>
                  <a:cubicBezTo>
                    <a:pt x="586" y="564"/>
                    <a:pt x="586" y="564"/>
                    <a:pt x="586" y="564"/>
                  </a:cubicBezTo>
                  <a:cubicBezTo>
                    <a:pt x="586" y="576"/>
                    <a:pt x="576" y="585"/>
                    <a:pt x="565" y="585"/>
                  </a:cubicBezTo>
                  <a:cubicBezTo>
                    <a:pt x="21" y="585"/>
                    <a:pt x="21" y="585"/>
                    <a:pt x="21" y="585"/>
                  </a:cubicBezTo>
                  <a:cubicBezTo>
                    <a:pt x="10" y="585"/>
                    <a:pt x="0" y="576"/>
                    <a:pt x="0" y="56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8" y="0"/>
                    <a:pt x="168" y="9"/>
                    <a:pt x="168" y="2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" name="Freeform 1005">
              <a:extLst>
                <a:ext uri="{FF2B5EF4-FFF2-40B4-BE49-F238E27FC236}">
                  <a16:creationId xmlns:a16="http://schemas.microsoft.com/office/drawing/2014/main" id="{8B18C199-318B-4299-B228-DC856040251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12760" y="2759370"/>
              <a:ext cx="195679" cy="365835"/>
            </a:xfrm>
            <a:custGeom>
              <a:avLst/>
              <a:gdLst>
                <a:gd name="T0" fmla="*/ 292 w 294"/>
                <a:gd name="T1" fmla="*/ 157 h 544"/>
                <a:gd name="T2" fmla="*/ 116 w 294"/>
                <a:gd name="T3" fmla="*/ 535 h 544"/>
                <a:gd name="T4" fmla="*/ 102 w 294"/>
                <a:gd name="T5" fmla="*/ 544 h 544"/>
                <a:gd name="T6" fmla="*/ 97 w 294"/>
                <a:gd name="T7" fmla="*/ 543 h 544"/>
                <a:gd name="T8" fmla="*/ 88 w 294"/>
                <a:gd name="T9" fmla="*/ 527 h 544"/>
                <a:gd name="T10" fmla="*/ 152 w 294"/>
                <a:gd name="T11" fmla="*/ 263 h 544"/>
                <a:gd name="T12" fmla="*/ 19 w 294"/>
                <a:gd name="T13" fmla="*/ 296 h 544"/>
                <a:gd name="T14" fmla="*/ 15 w 294"/>
                <a:gd name="T15" fmla="*/ 296 h 544"/>
                <a:gd name="T16" fmla="*/ 5 w 294"/>
                <a:gd name="T17" fmla="*/ 293 h 544"/>
                <a:gd name="T18" fmla="*/ 1 w 294"/>
                <a:gd name="T19" fmla="*/ 280 h 544"/>
                <a:gd name="T20" fmla="*/ 67 w 294"/>
                <a:gd name="T21" fmla="*/ 10 h 544"/>
                <a:gd name="T22" fmla="*/ 81 w 294"/>
                <a:gd name="T23" fmla="*/ 0 h 544"/>
                <a:gd name="T24" fmla="*/ 188 w 294"/>
                <a:gd name="T25" fmla="*/ 0 h 544"/>
                <a:gd name="T26" fmla="*/ 203 w 294"/>
                <a:gd name="T27" fmla="*/ 14 h 544"/>
                <a:gd name="T28" fmla="*/ 201 w 294"/>
                <a:gd name="T29" fmla="*/ 19 h 544"/>
                <a:gd name="T30" fmla="*/ 145 w 294"/>
                <a:gd name="T31" fmla="*/ 171 h 544"/>
                <a:gd name="T32" fmla="*/ 275 w 294"/>
                <a:gd name="T33" fmla="*/ 139 h 544"/>
                <a:gd name="T34" fmla="*/ 279 w 294"/>
                <a:gd name="T35" fmla="*/ 138 h 544"/>
                <a:gd name="T36" fmla="*/ 290 w 294"/>
                <a:gd name="T37" fmla="*/ 143 h 544"/>
                <a:gd name="T38" fmla="*/ 292 w 294"/>
                <a:gd name="T39" fmla="*/ 157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544">
                  <a:moveTo>
                    <a:pt x="292" y="157"/>
                  </a:moveTo>
                  <a:cubicBezTo>
                    <a:pt x="116" y="535"/>
                    <a:pt x="116" y="535"/>
                    <a:pt x="116" y="535"/>
                  </a:cubicBezTo>
                  <a:cubicBezTo>
                    <a:pt x="113" y="540"/>
                    <a:pt x="108" y="544"/>
                    <a:pt x="102" y="544"/>
                  </a:cubicBezTo>
                  <a:cubicBezTo>
                    <a:pt x="101" y="544"/>
                    <a:pt x="99" y="543"/>
                    <a:pt x="97" y="543"/>
                  </a:cubicBezTo>
                  <a:cubicBezTo>
                    <a:pt x="90" y="541"/>
                    <a:pt x="86" y="534"/>
                    <a:pt x="88" y="527"/>
                  </a:cubicBezTo>
                  <a:cubicBezTo>
                    <a:pt x="152" y="263"/>
                    <a:pt x="152" y="263"/>
                    <a:pt x="152" y="263"/>
                  </a:cubicBezTo>
                  <a:cubicBezTo>
                    <a:pt x="19" y="296"/>
                    <a:pt x="19" y="296"/>
                    <a:pt x="19" y="296"/>
                  </a:cubicBezTo>
                  <a:cubicBezTo>
                    <a:pt x="18" y="296"/>
                    <a:pt x="17" y="296"/>
                    <a:pt x="15" y="296"/>
                  </a:cubicBezTo>
                  <a:cubicBezTo>
                    <a:pt x="12" y="296"/>
                    <a:pt x="8" y="295"/>
                    <a:pt x="5" y="293"/>
                  </a:cubicBezTo>
                  <a:cubicBezTo>
                    <a:pt x="1" y="289"/>
                    <a:pt x="0" y="284"/>
                    <a:pt x="1" y="28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4"/>
                    <a:pt x="74" y="0"/>
                    <a:pt x="81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96" y="0"/>
                    <a:pt x="203" y="6"/>
                    <a:pt x="203" y="14"/>
                  </a:cubicBezTo>
                  <a:cubicBezTo>
                    <a:pt x="203" y="15"/>
                    <a:pt x="202" y="17"/>
                    <a:pt x="201" y="19"/>
                  </a:cubicBezTo>
                  <a:cubicBezTo>
                    <a:pt x="145" y="171"/>
                    <a:pt x="145" y="171"/>
                    <a:pt x="145" y="171"/>
                  </a:cubicBezTo>
                  <a:cubicBezTo>
                    <a:pt x="275" y="139"/>
                    <a:pt x="275" y="139"/>
                    <a:pt x="275" y="139"/>
                  </a:cubicBezTo>
                  <a:cubicBezTo>
                    <a:pt x="276" y="138"/>
                    <a:pt x="277" y="138"/>
                    <a:pt x="279" y="138"/>
                  </a:cubicBezTo>
                  <a:cubicBezTo>
                    <a:pt x="283" y="138"/>
                    <a:pt x="287" y="140"/>
                    <a:pt x="290" y="143"/>
                  </a:cubicBezTo>
                  <a:cubicBezTo>
                    <a:pt x="293" y="147"/>
                    <a:pt x="294" y="152"/>
                    <a:pt x="292" y="1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4" name="Textfeld 43"/>
          <p:cNvSpPr txBox="1"/>
          <p:nvPr/>
        </p:nvSpPr>
        <p:spPr>
          <a:xfrm>
            <a:off x="9054874" y="5501222"/>
            <a:ext cx="313712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E: 	Primary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nergy</a:t>
            </a:r>
            <a:endParaRPr lang="de-DE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GEP:	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oss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electricity production</a:t>
            </a: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NEP:	Net electricity production</a:t>
            </a: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GEC:	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oss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electricity consumption</a:t>
            </a: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NEC:	Net electricity consumption</a:t>
            </a: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MAP:	Main-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ctivity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ducers</a:t>
            </a:r>
            <a:endParaRPr lang="de-DE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P:	Auto-producers 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ichtungspfeil 48"/>
          <p:cNvSpPr/>
          <p:nvPr/>
        </p:nvSpPr>
        <p:spPr>
          <a:xfrm>
            <a:off x="5237861" y="1972541"/>
            <a:ext cx="1802422" cy="1863837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EP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MAP)</a:t>
            </a:r>
          </a:p>
        </p:txBody>
      </p:sp>
    </p:spTree>
    <p:extLst>
      <p:ext uri="{BB962C8B-B14F-4D97-AF65-F5344CB8AC3E}">
        <p14:creationId xmlns:p14="http://schemas.microsoft.com/office/powerpoint/2010/main" val="1828009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chtungspfeil 5"/>
          <p:cNvSpPr/>
          <p:nvPr/>
        </p:nvSpPr>
        <p:spPr>
          <a:xfrm>
            <a:off x="5237861" y="2129471"/>
            <a:ext cx="1797742" cy="1687565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EP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EL)</a:t>
            </a:r>
            <a:endParaRPr lang="de-DE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ichtungspfeil 6"/>
          <p:cNvSpPr/>
          <p:nvPr/>
        </p:nvSpPr>
        <p:spPr>
          <a:xfrm>
            <a:off x="7039002" y="1673470"/>
            <a:ext cx="1802422" cy="1934308"/>
          </a:xfrm>
          <a:prstGeom prst="homePlate">
            <a:avLst/>
          </a:prstGeom>
          <a:gradFill>
            <a:gsLst>
              <a:gs pos="100000">
                <a:schemeClr val="accent4">
                  <a:lumMod val="75000"/>
                </a:schemeClr>
              </a:gs>
              <a:gs pos="0">
                <a:schemeClr val="accent4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EC</a:t>
            </a:r>
          </a:p>
        </p:txBody>
      </p:sp>
      <p:sp>
        <p:nvSpPr>
          <p:cNvPr id="8" name="Richtungspfeil 7"/>
          <p:cNvSpPr/>
          <p:nvPr/>
        </p:nvSpPr>
        <p:spPr>
          <a:xfrm>
            <a:off x="8841424" y="1673470"/>
            <a:ext cx="1802422" cy="1670538"/>
          </a:xfrm>
          <a:prstGeom prst="homePlate">
            <a:avLst/>
          </a:prstGeom>
          <a:gradFill>
            <a:gsLst>
              <a:gs pos="100000">
                <a:schemeClr val="accent4">
                  <a:lumMod val="75000"/>
                </a:schemeClr>
              </a:gs>
              <a:gs pos="0">
                <a:schemeClr val="accent4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</a:p>
        </p:txBody>
      </p:sp>
      <p:sp>
        <p:nvSpPr>
          <p:cNvPr id="10" name="Gebogener Pfeil 9"/>
          <p:cNvSpPr/>
          <p:nvPr/>
        </p:nvSpPr>
        <p:spPr>
          <a:xfrm rot="5400000">
            <a:off x="2259653" y="4255578"/>
            <a:ext cx="2329960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Gebogener Pfeil 10"/>
          <p:cNvSpPr/>
          <p:nvPr/>
        </p:nvSpPr>
        <p:spPr>
          <a:xfrm rot="5400000">
            <a:off x="4071600" y="3856160"/>
            <a:ext cx="2329960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Gebogener Pfeil 11"/>
          <p:cNvSpPr/>
          <p:nvPr/>
        </p:nvSpPr>
        <p:spPr>
          <a:xfrm rot="5400000">
            <a:off x="5874022" y="3608818"/>
            <a:ext cx="2329960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Gebogener Pfeil 12"/>
          <p:cNvSpPr/>
          <p:nvPr/>
        </p:nvSpPr>
        <p:spPr>
          <a:xfrm rot="5400000" flipH="1">
            <a:off x="5881348" y="-318140"/>
            <a:ext cx="2338754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Gebogener Pfeil 14"/>
          <p:cNvSpPr/>
          <p:nvPr/>
        </p:nvSpPr>
        <p:spPr>
          <a:xfrm rot="16200000">
            <a:off x="7603906" y="3110655"/>
            <a:ext cx="2329960" cy="2004646"/>
          </a:xfrm>
          <a:prstGeom prst="circularArrow">
            <a:avLst>
              <a:gd name="adj1" fmla="val 11646"/>
              <a:gd name="adj2" fmla="val 1381430"/>
              <a:gd name="adj3" fmla="val 20558765"/>
              <a:gd name="adj4" fmla="val 17416965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Gebogener Pfeil 15"/>
          <p:cNvSpPr/>
          <p:nvPr/>
        </p:nvSpPr>
        <p:spPr>
          <a:xfrm rot="16200000" flipH="1">
            <a:off x="7703552" y="15532"/>
            <a:ext cx="2130670" cy="2004646"/>
          </a:xfrm>
          <a:prstGeom prst="circularArrow">
            <a:avLst>
              <a:gd name="adj1" fmla="val 11646"/>
              <a:gd name="adj2" fmla="val 1381430"/>
              <a:gd name="adj3" fmla="val 20558765"/>
              <a:gd name="adj4" fmla="val 17416965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Gebogener Pfeil 16"/>
          <p:cNvSpPr/>
          <p:nvPr/>
        </p:nvSpPr>
        <p:spPr>
          <a:xfrm rot="5400000">
            <a:off x="7689629" y="3379176"/>
            <a:ext cx="2329960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3418768" y="4992097"/>
            <a:ext cx="1309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nversion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losses (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enerator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5186024" y="4600412"/>
            <a:ext cx="13950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uxiliary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consumption</a:t>
            </a:r>
            <a:b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enerator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7565170" y="635189"/>
            <a:ext cx="10411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xports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8224403" y="1046869"/>
            <a:ext cx="10411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mports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7055586" y="4342165"/>
            <a:ext cx="104115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torage charging (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umped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ydro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7868581" y="3884006"/>
            <a:ext cx="125474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torage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ischarging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umped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ydro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9123322" y="4121683"/>
            <a:ext cx="15481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ransformation &amp;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istribution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losses</a:t>
            </a:r>
          </a:p>
        </p:txBody>
      </p:sp>
      <p:sp>
        <p:nvSpPr>
          <p:cNvPr id="25" name="Richtungspfeil 24"/>
          <p:cNvSpPr/>
          <p:nvPr/>
        </p:nvSpPr>
        <p:spPr>
          <a:xfrm>
            <a:off x="1631736" y="1673470"/>
            <a:ext cx="1799861" cy="645604"/>
          </a:xfrm>
          <a:prstGeom prst="homePlat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(CHP)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ichtungspfeil 27"/>
          <p:cNvSpPr/>
          <p:nvPr/>
        </p:nvSpPr>
        <p:spPr>
          <a:xfrm>
            <a:off x="3435439" y="1673471"/>
            <a:ext cx="1799861" cy="228000"/>
          </a:xfrm>
          <a:prstGeom prst="homePlat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EP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(CHP)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ichtungspfeil 30"/>
          <p:cNvSpPr/>
          <p:nvPr/>
        </p:nvSpPr>
        <p:spPr>
          <a:xfrm>
            <a:off x="5237861" y="1667433"/>
            <a:ext cx="1799861" cy="227631"/>
          </a:xfrm>
          <a:prstGeom prst="homePlat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EP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(CHP)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5" name="Gerader Verbinder 34"/>
          <p:cNvCxnSpPr/>
          <p:nvPr/>
        </p:nvCxnSpPr>
        <p:spPr>
          <a:xfrm>
            <a:off x="7037081" y="401516"/>
            <a:ext cx="641" cy="617806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/>
          <p:nvPr/>
        </p:nvCxnSpPr>
        <p:spPr>
          <a:xfrm>
            <a:off x="7217410" y="6094535"/>
            <a:ext cx="74954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/>
          <p:nvPr/>
        </p:nvCxnSpPr>
        <p:spPr>
          <a:xfrm flipH="1">
            <a:off x="4564520" y="6094535"/>
            <a:ext cx="229479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/>
          <p:cNvSpPr txBox="1"/>
          <p:nvPr/>
        </p:nvSpPr>
        <p:spPr>
          <a:xfrm>
            <a:off x="7217410" y="6141752"/>
            <a:ext cx="10411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id</a:t>
            </a:r>
            <a:endParaRPr lang="de-DE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4657482" y="6137641"/>
            <a:ext cx="22018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dividual </a:t>
            </a:r>
            <a:r>
              <a:rPr lang="de-DE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enerator</a:t>
            </a:r>
            <a:endParaRPr lang="de-DE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7766563" y="25646"/>
            <a:ext cx="2590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oss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eat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consumption</a:t>
            </a:r>
          </a:p>
        </p:txBody>
      </p:sp>
      <p:sp>
        <p:nvSpPr>
          <p:cNvPr id="32" name="Richtungspfeil 31"/>
          <p:cNvSpPr/>
          <p:nvPr/>
        </p:nvSpPr>
        <p:spPr>
          <a:xfrm>
            <a:off x="3435439" y="1901471"/>
            <a:ext cx="1799861" cy="269821"/>
          </a:xfrm>
          <a:prstGeom prst="homePlate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HP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(CHP)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ichtungspfeil 32"/>
          <p:cNvSpPr/>
          <p:nvPr/>
        </p:nvSpPr>
        <p:spPr>
          <a:xfrm>
            <a:off x="5237861" y="1895064"/>
            <a:ext cx="1799861" cy="234407"/>
          </a:xfrm>
          <a:prstGeom prst="homePlate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HP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(CHP)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Freeform 1243">
            <a:extLst>
              <a:ext uri="{FF2B5EF4-FFF2-40B4-BE49-F238E27FC236}">
                <a16:creationId xmlns:a16="http://schemas.microsoft.com/office/drawing/2014/main" id="{1BE85B51-8F3C-42E5-99C9-235F62BD1997}"/>
              </a:ext>
            </a:extLst>
          </p:cNvPr>
          <p:cNvSpPr>
            <a:spLocks noChangeAspect="1"/>
          </p:cNvSpPr>
          <p:nvPr/>
        </p:nvSpPr>
        <p:spPr bwMode="auto">
          <a:xfrm>
            <a:off x="10775837" y="2241998"/>
            <a:ext cx="539215" cy="533481"/>
          </a:xfrm>
          <a:custGeom>
            <a:avLst/>
            <a:gdLst>
              <a:gd name="T0" fmla="*/ 574 w 590"/>
              <a:gd name="T1" fmla="*/ 211 h 590"/>
              <a:gd name="T2" fmla="*/ 442 w 590"/>
              <a:gd name="T3" fmla="*/ 342 h 590"/>
              <a:gd name="T4" fmla="*/ 492 w 590"/>
              <a:gd name="T5" fmla="*/ 391 h 590"/>
              <a:gd name="T6" fmla="*/ 439 w 590"/>
              <a:gd name="T7" fmla="*/ 443 h 590"/>
              <a:gd name="T8" fmla="*/ 177 w 590"/>
              <a:gd name="T9" fmla="*/ 471 h 590"/>
              <a:gd name="T10" fmla="*/ 59 w 590"/>
              <a:gd name="T11" fmla="*/ 590 h 590"/>
              <a:gd name="T12" fmla="*/ 0 w 590"/>
              <a:gd name="T13" fmla="*/ 590 h 590"/>
              <a:gd name="T14" fmla="*/ 0 w 590"/>
              <a:gd name="T15" fmla="*/ 530 h 590"/>
              <a:gd name="T16" fmla="*/ 118 w 590"/>
              <a:gd name="T17" fmla="*/ 412 h 590"/>
              <a:gd name="T18" fmla="*/ 146 w 590"/>
              <a:gd name="T19" fmla="*/ 150 h 590"/>
              <a:gd name="T20" fmla="*/ 199 w 590"/>
              <a:gd name="T21" fmla="*/ 98 h 590"/>
              <a:gd name="T22" fmla="*/ 248 w 590"/>
              <a:gd name="T23" fmla="*/ 147 h 590"/>
              <a:gd name="T24" fmla="*/ 378 w 590"/>
              <a:gd name="T25" fmla="*/ 16 h 590"/>
              <a:gd name="T26" fmla="*/ 438 w 590"/>
              <a:gd name="T27" fmla="*/ 16 h 590"/>
              <a:gd name="T28" fmla="*/ 438 w 590"/>
              <a:gd name="T29" fmla="*/ 75 h 590"/>
              <a:gd name="T30" fmla="*/ 307 w 590"/>
              <a:gd name="T31" fmla="*/ 206 h 590"/>
              <a:gd name="T32" fmla="*/ 383 w 590"/>
              <a:gd name="T33" fmla="*/ 283 h 590"/>
              <a:gd name="T34" fmla="*/ 514 w 590"/>
              <a:gd name="T35" fmla="*/ 152 h 590"/>
              <a:gd name="T36" fmla="*/ 574 w 590"/>
              <a:gd name="T37" fmla="*/ 152 h 590"/>
              <a:gd name="T38" fmla="*/ 574 w 590"/>
              <a:gd name="T39" fmla="*/ 211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90" h="590">
                <a:moveTo>
                  <a:pt x="574" y="211"/>
                </a:moveTo>
                <a:cubicBezTo>
                  <a:pt x="442" y="342"/>
                  <a:pt x="442" y="342"/>
                  <a:pt x="442" y="342"/>
                </a:cubicBezTo>
                <a:cubicBezTo>
                  <a:pt x="492" y="391"/>
                  <a:pt x="492" y="391"/>
                  <a:pt x="492" y="391"/>
                </a:cubicBezTo>
                <a:cubicBezTo>
                  <a:pt x="439" y="443"/>
                  <a:pt x="439" y="443"/>
                  <a:pt x="439" y="443"/>
                </a:cubicBezTo>
                <a:cubicBezTo>
                  <a:pt x="368" y="515"/>
                  <a:pt x="259" y="525"/>
                  <a:pt x="177" y="471"/>
                </a:cubicBezTo>
                <a:cubicBezTo>
                  <a:pt x="59" y="590"/>
                  <a:pt x="59" y="590"/>
                  <a:pt x="59" y="590"/>
                </a:cubicBezTo>
                <a:cubicBezTo>
                  <a:pt x="0" y="590"/>
                  <a:pt x="0" y="590"/>
                  <a:pt x="0" y="590"/>
                </a:cubicBezTo>
                <a:cubicBezTo>
                  <a:pt x="0" y="530"/>
                  <a:pt x="0" y="530"/>
                  <a:pt x="0" y="530"/>
                </a:cubicBezTo>
                <a:cubicBezTo>
                  <a:pt x="118" y="412"/>
                  <a:pt x="118" y="412"/>
                  <a:pt x="118" y="412"/>
                </a:cubicBezTo>
                <a:cubicBezTo>
                  <a:pt x="65" y="331"/>
                  <a:pt x="75" y="222"/>
                  <a:pt x="146" y="150"/>
                </a:cubicBezTo>
                <a:cubicBezTo>
                  <a:pt x="199" y="98"/>
                  <a:pt x="199" y="98"/>
                  <a:pt x="199" y="98"/>
                </a:cubicBezTo>
                <a:cubicBezTo>
                  <a:pt x="248" y="147"/>
                  <a:pt x="248" y="147"/>
                  <a:pt x="248" y="147"/>
                </a:cubicBezTo>
                <a:cubicBezTo>
                  <a:pt x="378" y="16"/>
                  <a:pt x="378" y="16"/>
                  <a:pt x="378" y="16"/>
                </a:cubicBezTo>
                <a:cubicBezTo>
                  <a:pt x="395" y="0"/>
                  <a:pt x="421" y="0"/>
                  <a:pt x="438" y="16"/>
                </a:cubicBezTo>
                <a:cubicBezTo>
                  <a:pt x="454" y="32"/>
                  <a:pt x="454" y="59"/>
                  <a:pt x="438" y="75"/>
                </a:cubicBezTo>
                <a:cubicBezTo>
                  <a:pt x="307" y="206"/>
                  <a:pt x="307" y="206"/>
                  <a:pt x="307" y="206"/>
                </a:cubicBezTo>
                <a:cubicBezTo>
                  <a:pt x="383" y="283"/>
                  <a:pt x="383" y="283"/>
                  <a:pt x="383" y="283"/>
                </a:cubicBezTo>
                <a:cubicBezTo>
                  <a:pt x="514" y="152"/>
                  <a:pt x="514" y="152"/>
                  <a:pt x="514" y="152"/>
                </a:cubicBezTo>
                <a:cubicBezTo>
                  <a:pt x="531" y="136"/>
                  <a:pt x="557" y="136"/>
                  <a:pt x="574" y="152"/>
                </a:cubicBezTo>
                <a:cubicBezTo>
                  <a:pt x="590" y="168"/>
                  <a:pt x="590" y="195"/>
                  <a:pt x="574" y="21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43" name="Gruppieren 42"/>
          <p:cNvGrpSpPr/>
          <p:nvPr/>
        </p:nvGrpSpPr>
        <p:grpSpPr>
          <a:xfrm>
            <a:off x="522307" y="2753847"/>
            <a:ext cx="881384" cy="881384"/>
            <a:chOff x="369907" y="2386424"/>
            <a:chExt cx="881384" cy="881384"/>
          </a:xfrm>
        </p:grpSpPr>
        <p:sp>
          <p:nvSpPr>
            <p:cNvPr id="44" name="Freeform 1375">
              <a:extLst>
                <a:ext uri="{FF2B5EF4-FFF2-40B4-BE49-F238E27FC236}">
                  <a16:creationId xmlns:a16="http://schemas.microsoft.com/office/drawing/2014/main" id="{FA07138B-1F0B-46EB-A72F-4E917BCEC3D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9907" y="2386424"/>
              <a:ext cx="881384" cy="881384"/>
            </a:xfrm>
            <a:custGeom>
              <a:avLst/>
              <a:gdLst>
                <a:gd name="T0" fmla="*/ 168 w 586"/>
                <a:gd name="T1" fmla="*/ 20 h 585"/>
                <a:gd name="T2" fmla="*/ 168 w 586"/>
                <a:gd name="T3" fmla="*/ 312 h 585"/>
                <a:gd name="T4" fmla="*/ 343 w 586"/>
                <a:gd name="T5" fmla="*/ 171 h 585"/>
                <a:gd name="T6" fmla="*/ 356 w 586"/>
                <a:gd name="T7" fmla="*/ 167 h 585"/>
                <a:gd name="T8" fmla="*/ 377 w 586"/>
                <a:gd name="T9" fmla="*/ 188 h 585"/>
                <a:gd name="T10" fmla="*/ 377 w 586"/>
                <a:gd name="T11" fmla="*/ 312 h 585"/>
                <a:gd name="T12" fmla="*/ 552 w 586"/>
                <a:gd name="T13" fmla="*/ 171 h 585"/>
                <a:gd name="T14" fmla="*/ 565 w 586"/>
                <a:gd name="T15" fmla="*/ 167 h 585"/>
                <a:gd name="T16" fmla="*/ 586 w 586"/>
                <a:gd name="T17" fmla="*/ 188 h 585"/>
                <a:gd name="T18" fmla="*/ 586 w 586"/>
                <a:gd name="T19" fmla="*/ 564 h 585"/>
                <a:gd name="T20" fmla="*/ 565 w 586"/>
                <a:gd name="T21" fmla="*/ 585 h 585"/>
                <a:gd name="T22" fmla="*/ 21 w 586"/>
                <a:gd name="T23" fmla="*/ 585 h 585"/>
                <a:gd name="T24" fmla="*/ 0 w 586"/>
                <a:gd name="T25" fmla="*/ 564 h 585"/>
                <a:gd name="T26" fmla="*/ 0 w 586"/>
                <a:gd name="T27" fmla="*/ 20 h 585"/>
                <a:gd name="T28" fmla="*/ 21 w 586"/>
                <a:gd name="T29" fmla="*/ 0 h 585"/>
                <a:gd name="T30" fmla="*/ 147 w 586"/>
                <a:gd name="T31" fmla="*/ 0 h 585"/>
                <a:gd name="T32" fmla="*/ 168 w 586"/>
                <a:gd name="T33" fmla="*/ 2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6" h="585">
                  <a:moveTo>
                    <a:pt x="168" y="20"/>
                  </a:moveTo>
                  <a:cubicBezTo>
                    <a:pt x="168" y="312"/>
                    <a:pt x="168" y="312"/>
                    <a:pt x="168" y="312"/>
                  </a:cubicBezTo>
                  <a:cubicBezTo>
                    <a:pt x="343" y="171"/>
                    <a:pt x="343" y="171"/>
                    <a:pt x="343" y="171"/>
                  </a:cubicBezTo>
                  <a:cubicBezTo>
                    <a:pt x="346" y="168"/>
                    <a:pt x="351" y="167"/>
                    <a:pt x="356" y="167"/>
                  </a:cubicBezTo>
                  <a:cubicBezTo>
                    <a:pt x="367" y="167"/>
                    <a:pt x="377" y="176"/>
                    <a:pt x="377" y="188"/>
                  </a:cubicBezTo>
                  <a:cubicBezTo>
                    <a:pt x="377" y="312"/>
                    <a:pt x="377" y="312"/>
                    <a:pt x="377" y="312"/>
                  </a:cubicBezTo>
                  <a:cubicBezTo>
                    <a:pt x="552" y="171"/>
                    <a:pt x="552" y="171"/>
                    <a:pt x="552" y="171"/>
                  </a:cubicBezTo>
                  <a:cubicBezTo>
                    <a:pt x="555" y="168"/>
                    <a:pt x="560" y="167"/>
                    <a:pt x="565" y="167"/>
                  </a:cubicBezTo>
                  <a:cubicBezTo>
                    <a:pt x="576" y="167"/>
                    <a:pt x="586" y="176"/>
                    <a:pt x="586" y="188"/>
                  </a:cubicBezTo>
                  <a:cubicBezTo>
                    <a:pt x="586" y="564"/>
                    <a:pt x="586" y="564"/>
                    <a:pt x="586" y="564"/>
                  </a:cubicBezTo>
                  <a:cubicBezTo>
                    <a:pt x="586" y="576"/>
                    <a:pt x="576" y="585"/>
                    <a:pt x="565" y="585"/>
                  </a:cubicBezTo>
                  <a:cubicBezTo>
                    <a:pt x="21" y="585"/>
                    <a:pt x="21" y="585"/>
                    <a:pt x="21" y="585"/>
                  </a:cubicBezTo>
                  <a:cubicBezTo>
                    <a:pt x="10" y="585"/>
                    <a:pt x="0" y="576"/>
                    <a:pt x="0" y="56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8" y="0"/>
                    <a:pt x="168" y="9"/>
                    <a:pt x="168" y="2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" name="Freeform 1005">
              <a:extLst>
                <a:ext uri="{FF2B5EF4-FFF2-40B4-BE49-F238E27FC236}">
                  <a16:creationId xmlns:a16="http://schemas.microsoft.com/office/drawing/2014/main" id="{8B18C199-318B-4299-B228-DC856040251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12760" y="2759370"/>
              <a:ext cx="195679" cy="365835"/>
            </a:xfrm>
            <a:custGeom>
              <a:avLst/>
              <a:gdLst>
                <a:gd name="T0" fmla="*/ 292 w 294"/>
                <a:gd name="T1" fmla="*/ 157 h 544"/>
                <a:gd name="T2" fmla="*/ 116 w 294"/>
                <a:gd name="T3" fmla="*/ 535 h 544"/>
                <a:gd name="T4" fmla="*/ 102 w 294"/>
                <a:gd name="T5" fmla="*/ 544 h 544"/>
                <a:gd name="T6" fmla="*/ 97 w 294"/>
                <a:gd name="T7" fmla="*/ 543 h 544"/>
                <a:gd name="T8" fmla="*/ 88 w 294"/>
                <a:gd name="T9" fmla="*/ 527 h 544"/>
                <a:gd name="T10" fmla="*/ 152 w 294"/>
                <a:gd name="T11" fmla="*/ 263 h 544"/>
                <a:gd name="T12" fmla="*/ 19 w 294"/>
                <a:gd name="T13" fmla="*/ 296 h 544"/>
                <a:gd name="T14" fmla="*/ 15 w 294"/>
                <a:gd name="T15" fmla="*/ 296 h 544"/>
                <a:gd name="T16" fmla="*/ 5 w 294"/>
                <a:gd name="T17" fmla="*/ 293 h 544"/>
                <a:gd name="T18" fmla="*/ 1 w 294"/>
                <a:gd name="T19" fmla="*/ 280 h 544"/>
                <a:gd name="T20" fmla="*/ 67 w 294"/>
                <a:gd name="T21" fmla="*/ 10 h 544"/>
                <a:gd name="T22" fmla="*/ 81 w 294"/>
                <a:gd name="T23" fmla="*/ 0 h 544"/>
                <a:gd name="T24" fmla="*/ 188 w 294"/>
                <a:gd name="T25" fmla="*/ 0 h 544"/>
                <a:gd name="T26" fmla="*/ 203 w 294"/>
                <a:gd name="T27" fmla="*/ 14 h 544"/>
                <a:gd name="T28" fmla="*/ 201 w 294"/>
                <a:gd name="T29" fmla="*/ 19 h 544"/>
                <a:gd name="T30" fmla="*/ 145 w 294"/>
                <a:gd name="T31" fmla="*/ 171 h 544"/>
                <a:gd name="T32" fmla="*/ 275 w 294"/>
                <a:gd name="T33" fmla="*/ 139 h 544"/>
                <a:gd name="T34" fmla="*/ 279 w 294"/>
                <a:gd name="T35" fmla="*/ 138 h 544"/>
                <a:gd name="T36" fmla="*/ 290 w 294"/>
                <a:gd name="T37" fmla="*/ 143 h 544"/>
                <a:gd name="T38" fmla="*/ 292 w 294"/>
                <a:gd name="T39" fmla="*/ 157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544">
                  <a:moveTo>
                    <a:pt x="292" y="157"/>
                  </a:moveTo>
                  <a:cubicBezTo>
                    <a:pt x="116" y="535"/>
                    <a:pt x="116" y="535"/>
                    <a:pt x="116" y="535"/>
                  </a:cubicBezTo>
                  <a:cubicBezTo>
                    <a:pt x="113" y="540"/>
                    <a:pt x="108" y="544"/>
                    <a:pt x="102" y="544"/>
                  </a:cubicBezTo>
                  <a:cubicBezTo>
                    <a:pt x="101" y="544"/>
                    <a:pt x="99" y="543"/>
                    <a:pt x="97" y="543"/>
                  </a:cubicBezTo>
                  <a:cubicBezTo>
                    <a:pt x="90" y="541"/>
                    <a:pt x="86" y="534"/>
                    <a:pt x="88" y="527"/>
                  </a:cubicBezTo>
                  <a:cubicBezTo>
                    <a:pt x="152" y="263"/>
                    <a:pt x="152" y="263"/>
                    <a:pt x="152" y="263"/>
                  </a:cubicBezTo>
                  <a:cubicBezTo>
                    <a:pt x="19" y="296"/>
                    <a:pt x="19" y="296"/>
                    <a:pt x="19" y="296"/>
                  </a:cubicBezTo>
                  <a:cubicBezTo>
                    <a:pt x="18" y="296"/>
                    <a:pt x="17" y="296"/>
                    <a:pt x="15" y="296"/>
                  </a:cubicBezTo>
                  <a:cubicBezTo>
                    <a:pt x="12" y="296"/>
                    <a:pt x="8" y="295"/>
                    <a:pt x="5" y="293"/>
                  </a:cubicBezTo>
                  <a:cubicBezTo>
                    <a:pt x="1" y="289"/>
                    <a:pt x="0" y="284"/>
                    <a:pt x="1" y="28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4"/>
                    <a:pt x="74" y="0"/>
                    <a:pt x="81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96" y="0"/>
                    <a:pt x="203" y="6"/>
                    <a:pt x="203" y="14"/>
                  </a:cubicBezTo>
                  <a:cubicBezTo>
                    <a:pt x="203" y="15"/>
                    <a:pt x="202" y="17"/>
                    <a:pt x="201" y="19"/>
                  </a:cubicBezTo>
                  <a:cubicBezTo>
                    <a:pt x="145" y="171"/>
                    <a:pt x="145" y="171"/>
                    <a:pt x="145" y="171"/>
                  </a:cubicBezTo>
                  <a:cubicBezTo>
                    <a:pt x="275" y="139"/>
                    <a:pt x="275" y="139"/>
                    <a:pt x="275" y="139"/>
                  </a:cubicBezTo>
                  <a:cubicBezTo>
                    <a:pt x="276" y="138"/>
                    <a:pt x="277" y="138"/>
                    <a:pt x="279" y="138"/>
                  </a:cubicBezTo>
                  <a:cubicBezTo>
                    <a:pt x="283" y="138"/>
                    <a:pt x="287" y="140"/>
                    <a:pt x="290" y="143"/>
                  </a:cubicBezTo>
                  <a:cubicBezTo>
                    <a:pt x="293" y="147"/>
                    <a:pt x="294" y="152"/>
                    <a:pt x="292" y="1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6" name="Richtungspfeil 45"/>
          <p:cNvSpPr/>
          <p:nvPr/>
        </p:nvSpPr>
        <p:spPr>
          <a:xfrm>
            <a:off x="1631736" y="2319074"/>
            <a:ext cx="1801141" cy="2396534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  <a:b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EL)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ichtungspfeil 46"/>
          <p:cNvSpPr/>
          <p:nvPr/>
        </p:nvSpPr>
        <p:spPr>
          <a:xfrm>
            <a:off x="3435439" y="2171292"/>
            <a:ext cx="1809385" cy="2078085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EP</a:t>
            </a:r>
            <a:b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EL)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Gebogener Pfeil 47"/>
          <p:cNvSpPr/>
          <p:nvPr/>
        </p:nvSpPr>
        <p:spPr>
          <a:xfrm rot="5400000" flipH="1">
            <a:off x="5881348" y="-1240815"/>
            <a:ext cx="2338754" cy="2004646"/>
          </a:xfrm>
          <a:prstGeom prst="circularArrow">
            <a:avLst>
              <a:gd name="adj1" fmla="val 13762"/>
              <a:gd name="adj2" fmla="val 1381430"/>
              <a:gd name="adj3" fmla="val 13701948"/>
              <a:gd name="adj4" fmla="val 10800000"/>
              <a:gd name="adj5" fmla="val 16235"/>
            </a:avLst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8833180" y="5501222"/>
            <a:ext cx="335882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E: 	Primary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nergy</a:t>
            </a:r>
            <a:endParaRPr lang="de-DE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GEP:	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oss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electricity production</a:t>
            </a: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NEP:	Net electricity production</a:t>
            </a: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GEC:	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oss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electricity consumption</a:t>
            </a: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NEC:	Net electricity consumption</a:t>
            </a: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EL:	Electricity-only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lants</a:t>
            </a:r>
            <a:endParaRPr lang="de-DE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HP:	Combined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eat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power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lants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956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2</Words>
  <Application>Microsoft Office PowerPoint</Application>
  <PresentationFormat>Breitbild</PresentationFormat>
  <Paragraphs>99</Paragraphs>
  <Slides>4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8" baseType="lpstr">
      <vt:lpstr>Arial</vt:lpstr>
      <vt:lpstr>Calibri</vt:lpstr>
      <vt:lpstr>Calibri Light</vt:lpstr>
      <vt:lpstr>Office</vt:lpstr>
      <vt:lpstr>PowerPoint-Präsentation</vt:lpstr>
      <vt:lpstr>PowerPoint-Präsentation</vt:lpstr>
      <vt:lpstr>PowerPoint-Präsentation</vt:lpstr>
      <vt:lpstr>PowerPoint-Präsentation</vt:lpstr>
    </vt:vector>
  </TitlesOfParts>
  <Company>TU Braunschweig IW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lte Schäfer</dc:creator>
  <cp:lastModifiedBy>Malte Schäfer</cp:lastModifiedBy>
  <cp:revision>10</cp:revision>
  <dcterms:created xsi:type="dcterms:W3CDTF">2023-02-02T16:36:15Z</dcterms:created>
  <dcterms:modified xsi:type="dcterms:W3CDTF">2023-07-24T14:34:01Z</dcterms:modified>
</cp:coreProperties>
</file>